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heme/theme8.xml" ContentType="application/vnd.openxmlformats-officedocument.theme+xml"/>
  <Override PartName="/ppt/theme/themeOverride1.xml" ContentType="application/vnd.openxmlformats-officedocument.themeOverrid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tags/tag15.xml" ContentType="application/vnd.openxmlformats-officedocument.presentationml.tags+xml"/>
  <Override PartName="/ppt/notesSlides/notesSlide5.xml" ContentType="application/vnd.openxmlformats-officedocument.presentationml.notesSlide+xml"/>
  <Override PartName="/ppt/theme/themeOverride3.xml" ContentType="application/vnd.openxmlformats-officedocument.themeOverr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heme/themeOverride4.xml" ContentType="application/vnd.openxmlformats-officedocument.themeOverride+xml"/>
  <Override PartName="/ppt/tags/tag19.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5.xml" ContentType="application/vnd.openxmlformats-officedocument.themeOverr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heme/themeOverride6.xml" ContentType="application/vnd.openxmlformats-officedocument.themeOverride+xml"/>
  <Override PartName="/ppt/tags/tag23.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7.xml" ContentType="application/vnd.openxmlformats-officedocument.themeOverr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heme/themeOverride8.xml" ContentType="application/vnd.openxmlformats-officedocument.themeOverr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notesSlides/notesSlide17.xml" ContentType="application/vnd.openxmlformats-officedocument.presentationml.notesSlide+xml"/>
  <Override PartName="/ppt/theme/themeOverride9.xml" ContentType="application/vnd.openxmlformats-officedocument.themeOverr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heme/themeOverride10.xml" ContentType="application/vnd.openxmlformats-officedocument.themeOverride+xml"/>
  <Override PartName="/ppt/tags/tag30.xml" ContentType="application/vnd.openxmlformats-officedocument.presentationml.tags+xml"/>
  <Override PartName="/ppt/notesSlides/notesSlide2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1.xml" ContentType="application/vnd.openxmlformats-officedocument.themeOverride+xml"/>
  <Override PartName="/ppt/tags/tag31.xml" ContentType="application/vnd.openxmlformats-officedocument.presentationml.tags+xml"/>
  <Override PartName="/ppt/notesSlides/notesSlide21.xml" ContentType="application/vnd.openxmlformats-officedocument.presentationml.notesSlide+xml"/>
  <Override PartName="/ppt/theme/themeOverride12.xml" ContentType="application/vnd.openxmlformats-officedocument.themeOverr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3.xml" ContentType="application/vnd.openxmlformats-officedocument.themeOverride+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notesSlides/notesSlide25.xml" ContentType="application/vnd.openxmlformats-officedocument.presentationml.notesSlide+xml"/>
  <Override PartName="/ppt/theme/themeOverride14.xml" ContentType="application/vnd.openxmlformats-officedocument.themeOverride+xml"/>
  <Override PartName="/ppt/tags/tag36.xml" ContentType="application/vnd.openxmlformats-officedocument.presentationml.tags+xml"/>
  <Override PartName="/ppt/notesSlides/notesSlide26.xml" ContentType="application/vnd.openxmlformats-officedocument.presentationml.notesSlide+xml"/>
  <Override PartName="/ppt/theme/themeOverride15.xml" ContentType="application/vnd.openxmlformats-officedocument.themeOverride+xml"/>
  <Override PartName="/ppt/tags/tag37.xml" ContentType="application/vnd.openxmlformats-officedocument.presentationml.tags+xml"/>
  <Override PartName="/ppt/theme/themeOverride16.xml" ContentType="application/vnd.openxmlformats-officedocument.themeOverride+xml"/>
  <Override PartName="/ppt/tags/tag38.xml" ContentType="application/vnd.openxmlformats-officedocument.presentationml.tags+xml"/>
  <Override PartName="/ppt/theme/themeOverride17.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8.xml" ContentType="application/vnd.openxmlformats-officedocument.themeOverride+xml"/>
  <Override PartName="/ppt/tags/tag42.xml" ContentType="application/vnd.openxmlformats-officedocument.presentationml.tags+xml"/>
  <Override PartName="/ppt/theme/themeOverride19.xml" ContentType="application/vnd.openxmlformats-officedocument.themeOverride+xml"/>
  <Override PartName="/ppt/tags/tag43.xml" ContentType="application/vnd.openxmlformats-officedocument.presentationml.tags+xml"/>
  <Override PartName="/ppt/notesSlides/notesSlide2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notesSlides/notesSlide2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6.xml" ContentType="application/vnd.openxmlformats-officedocument.presentationml.tags+xml"/>
  <Override PartName="/ppt/theme/themeOverride20.xml" ContentType="application/vnd.openxmlformats-officedocument.themeOverride+xml"/>
  <Override PartName="/ppt/tags/tag47.xml" ContentType="application/vnd.openxmlformats-officedocument.presentationml.tags+xml"/>
  <Override PartName="/ppt/notesSlides/notesSlide2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1.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theme/themeOverride22.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heme/themeOverride23.xml" ContentType="application/vnd.openxmlformats-officedocument.themeOverride+xml"/>
  <Override PartName="/ppt/tags/tag5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4"/>
    <p:sldMasterId id="2147483732" r:id="rId5"/>
    <p:sldMasterId id="2147483790" r:id="rId6"/>
    <p:sldMasterId id="2147483848" r:id="rId7"/>
    <p:sldMasterId id="2147483906" r:id="rId8"/>
    <p:sldMasterId id="2147483964" r:id="rId9"/>
    <p:sldMasterId id="2147484023" r:id="rId10"/>
  </p:sldMasterIdLst>
  <p:notesMasterIdLst>
    <p:notesMasterId r:id="rId56"/>
  </p:notesMasterIdLst>
  <p:sldIdLst>
    <p:sldId id="2147377186" r:id="rId11"/>
    <p:sldId id="2147377203" r:id="rId12"/>
    <p:sldId id="2147377204" r:id="rId13"/>
    <p:sldId id="2147377205" r:id="rId14"/>
    <p:sldId id="2147377150" r:id="rId15"/>
    <p:sldId id="2147377178" r:id="rId16"/>
    <p:sldId id="2147377211" r:id="rId17"/>
    <p:sldId id="2147377206" r:id="rId18"/>
    <p:sldId id="2147377187" r:id="rId19"/>
    <p:sldId id="2147377193" r:id="rId20"/>
    <p:sldId id="2147377182" r:id="rId21"/>
    <p:sldId id="2147377148" r:id="rId22"/>
    <p:sldId id="260" r:id="rId23"/>
    <p:sldId id="2147377194" r:id="rId24"/>
    <p:sldId id="2147377200" r:id="rId25"/>
    <p:sldId id="2147377218" r:id="rId26"/>
    <p:sldId id="2147377201" r:id="rId27"/>
    <p:sldId id="2147377195" r:id="rId28"/>
    <p:sldId id="2147377207" r:id="rId29"/>
    <p:sldId id="2147377163" r:id="rId30"/>
    <p:sldId id="2147377196" r:id="rId31"/>
    <p:sldId id="13363" r:id="rId32"/>
    <p:sldId id="2147377213" r:id="rId33"/>
    <p:sldId id="2147377197" r:id="rId34"/>
    <p:sldId id="2147377209" r:id="rId35"/>
    <p:sldId id="262" r:id="rId36"/>
    <p:sldId id="2147377198" r:id="rId37"/>
    <p:sldId id="2147377227" r:id="rId38"/>
    <p:sldId id="2147377220" r:id="rId39"/>
    <p:sldId id="2147377215" r:id="rId40"/>
    <p:sldId id="2147377216" r:id="rId41"/>
    <p:sldId id="2147377225" r:id="rId42"/>
    <p:sldId id="2147377176" r:id="rId43"/>
    <p:sldId id="2147377144" r:id="rId44"/>
    <p:sldId id="2147377165" r:id="rId45"/>
    <p:sldId id="2147377177" r:id="rId46"/>
    <p:sldId id="2147377167" r:id="rId47"/>
    <p:sldId id="1688" r:id="rId48"/>
    <p:sldId id="2147377171" r:id="rId49"/>
    <p:sldId id="13271" r:id="rId50"/>
    <p:sldId id="2147377137" r:id="rId51"/>
    <p:sldId id="2147377138" r:id="rId52"/>
    <p:sldId id="2147377149" r:id="rId53"/>
    <p:sldId id="2147377125" r:id="rId54"/>
    <p:sldId id="269" r:id="rId55"/>
  </p:sldIdLst>
  <p:sldSz cx="9144000" cy="6858000" type="screen4x3"/>
  <p:notesSz cx="7023100" cy="9309100"/>
  <p:custDataLst>
    <p:tags r:id="rId57"/>
  </p:custDataLst>
  <p:defaultTex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748928-8EB6-C543-8B9D-03DCB42D9486}" name="Carroll, Tyler" initials="CT" userId="S::tcarroll@vedp.org::69b673a0-6af4-4d8a-830b-550d1bbab5f8" providerId="AD"/>
  <p188:author id="{C249C48C-8E5F-86DE-AB79-FC53A0D5366F}" name="Hartka, Stephen" initials="HS" userId="S::SHartka@vedp.org::886d5ef2-cefd-4887-ba50-3e5275c71548" providerId="AD"/>
  <p188:author id="{746A39A1-B4FB-1E55-01B0-D40605F4FA3C}" name="Pearce, Cole" initials="PC" userId="S::cpearce@vedp.org::43a57689-b7a0-4fe7-a988-5fcefa6157b0" providerId="AD"/>
  <p188:author id="{B8781ECA-B2CC-D976-4BEE-9FA8C14BA0A8}" name="Watkins, Adam" initials="AW" userId="Watkins, Adam" providerId="None"/>
  <p188:author id="{756822D1-3AA1-E504-20A6-1D1AA684F506}" name="Devan, David" initials="DD" userId="S::ddevan@vedp.org::bd0bb4df-624c-4588-81f2-38826fea6a18" providerId="AD"/>
  <p188:author id="{1C22BEEB-9061-9504-BE77-56A6029AE3A4}" name="Pritchard, Melissa" initials="PM" userId="S::mpritchard@vedp.org::12fd1d3e-059d-4873-b419-3df0d1f7a0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5"/>
    <a:srgbClr val="FFCC00"/>
    <a:srgbClr val="8026A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54304C-E424-4A4A-81D9-ABDA7518D7DD}" v="2108" dt="2023-01-05T11:36:15.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76255" autoAdjust="0"/>
  </p:normalViewPr>
  <p:slideViewPr>
    <p:cSldViewPr snapToGrid="0">
      <p:cViewPr varScale="1">
        <p:scale>
          <a:sx n="48" d="100"/>
          <a:sy n="48" d="100"/>
        </p:scale>
        <p:origin x="168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tags" Target="tags/tag1.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roll, Tyler" userId="69b673a0-6af4-4d8a-830b-550d1bbab5f8" providerId="ADAL" clId="{FA54304C-E424-4A4A-81D9-ABDA7518D7DD}"/>
    <pc:docChg chg="undo custSel addSld delSld modSld sldOrd modMainMaster replTag">
      <pc:chgData name="Carroll, Tyler" userId="69b673a0-6af4-4d8a-830b-550d1bbab5f8" providerId="ADAL" clId="{FA54304C-E424-4A4A-81D9-ABDA7518D7DD}" dt="2023-01-05T11:36:15.642" v="13445"/>
      <pc:docMkLst>
        <pc:docMk/>
      </pc:docMkLst>
      <pc:sldChg chg="modSp del mod ord modTransition modShow">
        <pc:chgData name="Carroll, Tyler" userId="69b673a0-6af4-4d8a-830b-550d1bbab5f8" providerId="ADAL" clId="{FA54304C-E424-4A4A-81D9-ABDA7518D7DD}" dt="2023-01-03T17:49:56.799" v="3398" actId="47"/>
        <pc:sldMkLst>
          <pc:docMk/>
          <pc:sldMk cId="4121724193" sldId="256"/>
        </pc:sldMkLst>
        <pc:spChg chg="mod">
          <ac:chgData name="Carroll, Tyler" userId="69b673a0-6af4-4d8a-830b-550d1bbab5f8" providerId="ADAL" clId="{FA54304C-E424-4A4A-81D9-ABDA7518D7DD}" dt="2023-01-03T17:04:10.659" v="170" actId="20577"/>
          <ac:spMkLst>
            <pc:docMk/>
            <pc:sldMk cId="4121724193" sldId="256"/>
            <ac:spMk id="5" creationId="{77ACF8CC-BA89-DD1F-1666-41FF90008DC9}"/>
          </ac:spMkLst>
        </pc:spChg>
      </pc:sldChg>
      <pc:sldChg chg="del">
        <pc:chgData name="Carroll, Tyler" userId="69b673a0-6af4-4d8a-830b-550d1bbab5f8" providerId="ADAL" clId="{FA54304C-E424-4A4A-81D9-ABDA7518D7DD}" dt="2023-01-03T17:49:56.799" v="3398" actId="47"/>
        <pc:sldMkLst>
          <pc:docMk/>
          <pc:sldMk cId="1809000318" sldId="259"/>
        </pc:sldMkLst>
      </pc:sldChg>
      <pc:sldChg chg="addSp delSp modSp mod ord setBg modNotesTx">
        <pc:chgData name="Carroll, Tyler" userId="69b673a0-6af4-4d8a-830b-550d1bbab5f8" providerId="ADAL" clId="{FA54304C-E424-4A4A-81D9-ABDA7518D7DD}" dt="2023-01-04T18:46:18.358" v="12711" actId="20577"/>
        <pc:sldMkLst>
          <pc:docMk/>
          <pc:sldMk cId="2780101092" sldId="260"/>
        </pc:sldMkLst>
        <pc:spChg chg="del">
          <ac:chgData name="Carroll, Tyler" userId="69b673a0-6af4-4d8a-830b-550d1bbab5f8" providerId="ADAL" clId="{FA54304C-E424-4A4A-81D9-ABDA7518D7DD}" dt="2023-01-03T20:03:46.475" v="6508" actId="478"/>
          <ac:spMkLst>
            <pc:docMk/>
            <pc:sldMk cId="2780101092" sldId="260"/>
            <ac:spMk id="2" creationId="{9357FE54-649A-4738-BED5-E44956A22B8F}"/>
          </ac:spMkLst>
        </pc:spChg>
        <pc:spChg chg="add del mod modVis">
          <ac:chgData name="Carroll, Tyler" userId="69b673a0-6af4-4d8a-830b-550d1bbab5f8" providerId="ADAL" clId="{FA54304C-E424-4A4A-81D9-ABDA7518D7DD}" dt="2023-01-03T21:27:52.284" v="7867"/>
          <ac:spMkLst>
            <pc:docMk/>
            <pc:sldMk cId="2780101092" sldId="260"/>
            <ac:spMk id="2" creationId="{EAE35223-B763-A522-A832-F295014CF5E5}"/>
          </ac:spMkLst>
        </pc:spChg>
        <pc:spChg chg="mod">
          <ac:chgData name="Carroll, Tyler" userId="69b673a0-6af4-4d8a-830b-550d1bbab5f8" providerId="ADAL" clId="{FA54304C-E424-4A4A-81D9-ABDA7518D7DD}" dt="2023-01-04T17:58:30.853" v="11547" actId="948"/>
          <ac:spMkLst>
            <pc:docMk/>
            <pc:sldMk cId="2780101092" sldId="260"/>
            <ac:spMk id="3" creationId="{42420021-C4B9-4BEC-B0DC-007E9052F9F5}"/>
          </ac:spMkLst>
        </pc:spChg>
        <pc:spChg chg="mod">
          <ac:chgData name="Carroll, Tyler" userId="69b673a0-6af4-4d8a-830b-550d1bbab5f8" providerId="ADAL" clId="{FA54304C-E424-4A4A-81D9-ABDA7518D7DD}" dt="2023-01-04T17:58:30.315" v="11546"/>
          <ac:spMkLst>
            <pc:docMk/>
            <pc:sldMk cId="2780101092" sldId="260"/>
            <ac:spMk id="4" creationId="{C6524CEA-9BF5-468B-A203-D9C7664CB49F}"/>
          </ac:spMkLst>
        </pc:spChg>
        <pc:spChg chg="mod">
          <ac:chgData name="Carroll, Tyler" userId="69b673a0-6af4-4d8a-830b-550d1bbab5f8" providerId="ADAL" clId="{FA54304C-E424-4A4A-81D9-ABDA7518D7DD}" dt="2023-01-04T18:02:32.850" v="11828" actId="108"/>
          <ac:spMkLst>
            <pc:docMk/>
            <pc:sldMk cId="2780101092" sldId="260"/>
            <ac:spMk id="5" creationId="{0217BA43-2843-4F2B-8234-4E1D5013B5E0}"/>
          </ac:spMkLst>
        </pc:spChg>
        <pc:spChg chg="add del mod modVis">
          <ac:chgData name="Carroll, Tyler" userId="69b673a0-6af4-4d8a-830b-550d1bbab5f8" providerId="ADAL" clId="{FA54304C-E424-4A4A-81D9-ABDA7518D7DD}" dt="2023-01-03T21:36:09.339" v="8247"/>
          <ac:spMkLst>
            <pc:docMk/>
            <pc:sldMk cId="2780101092" sldId="260"/>
            <ac:spMk id="6" creationId="{90212D1A-E1FB-720A-BDDD-3B60AE2C07BD}"/>
          </ac:spMkLst>
        </pc:spChg>
        <pc:spChg chg="add del mod modVis">
          <ac:chgData name="Carroll, Tyler" userId="69b673a0-6af4-4d8a-830b-550d1bbab5f8" providerId="ADAL" clId="{FA54304C-E424-4A4A-81D9-ABDA7518D7DD}" dt="2023-01-03T17:29:54.834" v="2880"/>
          <ac:spMkLst>
            <pc:docMk/>
            <pc:sldMk cId="2780101092" sldId="260"/>
            <ac:spMk id="6" creationId="{CD8EB4E8-4EC3-E41C-195A-74BE873E94C2}"/>
          </ac:spMkLst>
        </pc:spChg>
        <pc:spChg chg="mod">
          <ac:chgData name="Carroll, Tyler" userId="69b673a0-6af4-4d8a-830b-550d1bbab5f8" providerId="ADAL" clId="{FA54304C-E424-4A4A-81D9-ABDA7518D7DD}" dt="2023-01-03T21:36:34.141" v="8251" actId="2711"/>
          <ac:spMkLst>
            <pc:docMk/>
            <pc:sldMk cId="2780101092" sldId="260"/>
            <ac:spMk id="9" creationId="{5F988274-779E-49C7-A425-43811008F89C}"/>
          </ac:spMkLst>
        </pc:spChg>
        <pc:spChg chg="mod">
          <ac:chgData name="Carroll, Tyler" userId="69b673a0-6af4-4d8a-830b-550d1bbab5f8" providerId="ADAL" clId="{FA54304C-E424-4A4A-81D9-ABDA7518D7DD}" dt="2023-01-03T21:36:34.141" v="8251" actId="2711"/>
          <ac:spMkLst>
            <pc:docMk/>
            <pc:sldMk cId="2780101092" sldId="260"/>
            <ac:spMk id="10" creationId="{F0915301-E84F-40E3-BCE1-95C948CDA342}"/>
          </ac:spMkLst>
        </pc:spChg>
        <pc:spChg chg="mod">
          <ac:chgData name="Carroll, Tyler" userId="69b673a0-6af4-4d8a-830b-550d1bbab5f8" providerId="ADAL" clId="{FA54304C-E424-4A4A-81D9-ABDA7518D7DD}" dt="2023-01-03T21:36:34.141" v="8251" actId="2711"/>
          <ac:spMkLst>
            <pc:docMk/>
            <pc:sldMk cId="2780101092" sldId="260"/>
            <ac:spMk id="14" creationId="{9A2480CA-0ED0-4E23-AA87-0488734F0EFA}"/>
          </ac:spMkLst>
        </pc:spChg>
        <pc:spChg chg="mod">
          <ac:chgData name="Carroll, Tyler" userId="69b673a0-6af4-4d8a-830b-550d1bbab5f8" providerId="ADAL" clId="{FA54304C-E424-4A4A-81D9-ABDA7518D7DD}" dt="2023-01-03T21:36:34.141" v="8251" actId="2711"/>
          <ac:spMkLst>
            <pc:docMk/>
            <pc:sldMk cId="2780101092" sldId="260"/>
            <ac:spMk id="15" creationId="{AC699264-37F4-4869-A86C-8FC357B502A8}"/>
          </ac:spMkLst>
        </pc:spChg>
        <pc:spChg chg="add del mod modVis">
          <ac:chgData name="Carroll, Tyler" userId="69b673a0-6af4-4d8a-830b-550d1bbab5f8" providerId="ADAL" clId="{FA54304C-E424-4A4A-81D9-ABDA7518D7DD}" dt="2023-01-04T17:58:30.916" v="11588"/>
          <ac:spMkLst>
            <pc:docMk/>
            <pc:sldMk cId="2780101092" sldId="260"/>
            <ac:spMk id="17" creationId="{511AE265-DF25-EBD4-4931-F827E8E237DC}"/>
          </ac:spMkLst>
        </pc:spChg>
        <pc:graphicFrameChg chg="mod">
          <ac:chgData name="Carroll, Tyler" userId="69b673a0-6af4-4d8a-830b-550d1bbab5f8" providerId="ADAL" clId="{FA54304C-E424-4A4A-81D9-ABDA7518D7DD}" dt="2023-01-04T17:58:30.932" v="11590"/>
          <ac:graphicFrameMkLst>
            <pc:docMk/>
            <pc:sldMk cId="2780101092" sldId="260"/>
            <ac:graphicFrameMk id="12" creationId="{FF86AA81-B9C4-0876-4C78-91488846EF68}"/>
          </ac:graphicFrameMkLst>
        </pc:graphicFrameChg>
      </pc:sldChg>
      <pc:sldChg chg="addSp delSp modSp mod ord modNotesTx">
        <pc:chgData name="Carroll, Tyler" userId="69b673a0-6af4-4d8a-830b-550d1bbab5f8" providerId="ADAL" clId="{FA54304C-E424-4A4A-81D9-ABDA7518D7DD}" dt="2023-01-04T18:46:57.138" v="12735"/>
        <pc:sldMkLst>
          <pc:docMk/>
          <pc:sldMk cId="1386922653" sldId="262"/>
        </pc:sldMkLst>
        <pc:spChg chg="add del mod modVis">
          <ac:chgData name="Carroll, Tyler" userId="69b673a0-6af4-4d8a-830b-550d1bbab5f8" providerId="ADAL" clId="{FA54304C-E424-4A4A-81D9-ABDA7518D7DD}" dt="2023-01-03T21:16:18.646" v="7706"/>
          <ac:spMkLst>
            <pc:docMk/>
            <pc:sldMk cId="1386922653" sldId="262"/>
            <ac:spMk id="2" creationId="{C487303F-6939-F474-97A3-C7DF84B430E5}"/>
          </ac:spMkLst>
        </pc:spChg>
        <pc:spChg chg="mod">
          <ac:chgData name="Carroll, Tyler" userId="69b673a0-6af4-4d8a-830b-550d1bbab5f8" providerId="ADAL" clId="{FA54304C-E424-4A4A-81D9-ABDA7518D7DD}" dt="2023-01-03T21:24:43.350" v="7724" actId="948"/>
          <ac:spMkLst>
            <pc:docMk/>
            <pc:sldMk cId="1386922653" sldId="262"/>
            <ac:spMk id="3" creationId="{655A26EB-2B87-44CF-9189-EED39DA9EE8F}"/>
          </ac:spMkLst>
        </pc:spChg>
        <pc:spChg chg="mod">
          <ac:chgData name="Carroll, Tyler" userId="69b673a0-6af4-4d8a-830b-550d1bbab5f8" providerId="ADAL" clId="{FA54304C-E424-4A4A-81D9-ABDA7518D7DD}" dt="2023-01-03T21:24:31.986" v="7722" actId="1076"/>
          <ac:spMkLst>
            <pc:docMk/>
            <pc:sldMk cId="1386922653" sldId="262"/>
            <ac:spMk id="4" creationId="{4B5B3183-C25F-404E-84CD-784F3095FC09}"/>
          </ac:spMkLst>
        </pc:spChg>
        <pc:spChg chg="mod">
          <ac:chgData name="Carroll, Tyler" userId="69b673a0-6af4-4d8a-830b-550d1bbab5f8" providerId="ADAL" clId="{FA54304C-E424-4A4A-81D9-ABDA7518D7DD}" dt="2023-01-04T18:04:33.363" v="11844" actId="2711"/>
          <ac:spMkLst>
            <pc:docMk/>
            <pc:sldMk cId="1386922653" sldId="262"/>
            <ac:spMk id="5" creationId="{54952ADA-E738-4AFC-807B-D7C88E1A0B26}"/>
          </ac:spMkLst>
        </pc:spChg>
        <pc:spChg chg="add del mod modVis">
          <ac:chgData name="Carroll, Tyler" userId="69b673a0-6af4-4d8a-830b-550d1bbab5f8" providerId="ADAL" clId="{FA54304C-E424-4A4A-81D9-ABDA7518D7DD}" dt="2023-01-03T21:24:43.384" v="7765"/>
          <ac:spMkLst>
            <pc:docMk/>
            <pc:sldMk cId="1386922653" sldId="262"/>
            <ac:spMk id="7" creationId="{F5D3EFA9-9141-C31B-FE25-6A03FCB6087B}"/>
          </ac:spMkLst>
        </pc:spChg>
        <pc:spChg chg="mod">
          <ac:chgData name="Carroll, Tyler" userId="69b673a0-6af4-4d8a-830b-550d1bbab5f8" providerId="ADAL" clId="{FA54304C-E424-4A4A-81D9-ABDA7518D7DD}" dt="2023-01-03T21:16:47.402" v="7713" actId="2711"/>
          <ac:spMkLst>
            <pc:docMk/>
            <pc:sldMk cId="1386922653" sldId="262"/>
            <ac:spMk id="16" creationId="{A3B4B6E6-F4FA-BF5A-07D5-4FD055344572}"/>
          </ac:spMkLst>
        </pc:spChg>
        <pc:graphicFrameChg chg="mod modGraphic">
          <ac:chgData name="Carroll, Tyler" userId="69b673a0-6af4-4d8a-830b-550d1bbab5f8" providerId="ADAL" clId="{FA54304C-E424-4A4A-81D9-ABDA7518D7DD}" dt="2023-01-03T21:24:27.084" v="7721" actId="14734"/>
          <ac:graphicFrameMkLst>
            <pc:docMk/>
            <pc:sldMk cId="1386922653" sldId="262"/>
            <ac:graphicFrameMk id="6" creationId="{DD3A0A27-6585-CDF7-2CCA-C2DF30B2AD06}"/>
          </ac:graphicFrameMkLst>
        </pc:graphicFrameChg>
        <pc:graphicFrameChg chg="mod">
          <ac:chgData name="Carroll, Tyler" userId="69b673a0-6af4-4d8a-830b-550d1bbab5f8" providerId="ADAL" clId="{FA54304C-E424-4A4A-81D9-ABDA7518D7DD}" dt="2023-01-03T21:24:43.386" v="7767"/>
          <ac:graphicFrameMkLst>
            <pc:docMk/>
            <pc:sldMk cId="1386922653" sldId="262"/>
            <ac:graphicFrameMk id="8" creationId="{6D4D037B-80E6-74D7-E94C-63C328C4832C}"/>
          </ac:graphicFrameMkLst>
        </pc:graphicFrameChg>
        <pc:picChg chg="del">
          <ac:chgData name="Carroll, Tyler" userId="69b673a0-6af4-4d8a-830b-550d1bbab5f8" providerId="ADAL" clId="{FA54304C-E424-4A4A-81D9-ABDA7518D7DD}" dt="2023-01-03T17:54:41.368" v="3539" actId="478"/>
          <ac:picMkLst>
            <pc:docMk/>
            <pc:sldMk cId="1386922653" sldId="262"/>
            <ac:picMk id="9" creationId="{D5908AB2-E8DC-D427-D9F6-8FEA766174A4}"/>
          </ac:picMkLst>
        </pc:picChg>
      </pc:sldChg>
      <pc:sldChg chg="addSp delSp modSp mod">
        <pc:chgData name="Carroll, Tyler" userId="69b673a0-6af4-4d8a-830b-550d1bbab5f8" providerId="ADAL" clId="{FA54304C-E424-4A4A-81D9-ABDA7518D7DD}" dt="2023-01-04T18:09:55.820" v="11863" actId="2711"/>
        <pc:sldMkLst>
          <pc:docMk/>
          <pc:sldMk cId="3682123704" sldId="269"/>
        </pc:sldMkLst>
        <pc:spChg chg="add del mod modVis">
          <ac:chgData name="Carroll, Tyler" userId="69b673a0-6af4-4d8a-830b-550d1bbab5f8" providerId="ADAL" clId="{FA54304C-E424-4A4A-81D9-ABDA7518D7DD}" dt="2023-01-03T22:16:18.163" v="10945"/>
          <ac:spMkLst>
            <pc:docMk/>
            <pc:sldMk cId="3682123704" sldId="269"/>
            <ac:spMk id="2" creationId="{CF886AB2-281E-69BE-DDF1-42DCD99D58F1}"/>
          </ac:spMkLst>
        </pc:spChg>
        <pc:spChg chg="add del mod modVis">
          <ac:chgData name="Carroll, Tyler" userId="69b673a0-6af4-4d8a-830b-550d1bbab5f8" providerId="ADAL" clId="{FA54304C-E424-4A4A-81D9-ABDA7518D7DD}" dt="2023-01-03T22:16:20.075" v="11000"/>
          <ac:spMkLst>
            <pc:docMk/>
            <pc:sldMk cId="3682123704" sldId="269"/>
            <ac:spMk id="4" creationId="{FF91F5DE-6532-93F6-4CA0-4819CCF0CC31}"/>
          </ac:spMkLst>
        </pc:spChg>
        <pc:spChg chg="add del mod modVis">
          <ac:chgData name="Carroll, Tyler" userId="69b673a0-6af4-4d8a-830b-550d1bbab5f8" providerId="ADAL" clId="{FA54304C-E424-4A4A-81D9-ABDA7518D7DD}" dt="2023-01-03T22:16:22.366" v="11045"/>
          <ac:spMkLst>
            <pc:docMk/>
            <pc:sldMk cId="3682123704" sldId="269"/>
            <ac:spMk id="5" creationId="{455ADE16-868E-2045-AB3A-8A3E57A6DC9B}"/>
          </ac:spMkLst>
        </pc:spChg>
        <pc:spChg chg="mod">
          <ac:chgData name="Carroll, Tyler" userId="69b673a0-6af4-4d8a-830b-550d1bbab5f8" providerId="ADAL" clId="{FA54304C-E424-4A4A-81D9-ABDA7518D7DD}" dt="2023-01-04T18:09:55.820" v="11863" actId="2711"/>
          <ac:spMkLst>
            <pc:docMk/>
            <pc:sldMk cId="3682123704" sldId="269"/>
            <ac:spMk id="6" creationId="{DDCDC516-90C9-DD88-C690-8A9C33EC3C69}"/>
          </ac:spMkLst>
        </pc:spChg>
        <pc:spChg chg="mod">
          <ac:chgData name="Carroll, Tyler" userId="69b673a0-6af4-4d8a-830b-550d1bbab5f8" providerId="ADAL" clId="{FA54304C-E424-4A4A-81D9-ABDA7518D7DD}" dt="2023-01-03T22:16:22.332" v="11004" actId="948"/>
          <ac:spMkLst>
            <pc:docMk/>
            <pc:sldMk cId="3682123704" sldId="269"/>
            <ac:spMk id="8" creationId="{ABB5F394-BB1E-9BD3-4ABD-E0D3CE304721}"/>
          </ac:spMkLst>
        </pc:spChg>
        <pc:graphicFrameChg chg="mod">
          <ac:chgData name="Carroll, Tyler" userId="69b673a0-6af4-4d8a-830b-550d1bbab5f8" providerId="ADAL" clId="{FA54304C-E424-4A4A-81D9-ABDA7518D7DD}" dt="2023-01-03T22:16:22.368" v="11047"/>
          <ac:graphicFrameMkLst>
            <pc:docMk/>
            <pc:sldMk cId="3682123704" sldId="269"/>
            <ac:graphicFrameMk id="11" creationId="{6D1655AD-0F8D-AE8E-8B54-54B8463EDCCB}"/>
          </ac:graphicFrameMkLst>
        </pc:graphicFrameChg>
        <pc:picChg chg="del">
          <ac:chgData name="Carroll, Tyler" userId="69b673a0-6af4-4d8a-830b-550d1bbab5f8" providerId="ADAL" clId="{FA54304C-E424-4A4A-81D9-ABDA7518D7DD}" dt="2023-01-03T17:54:37.995" v="3538" actId="478"/>
          <ac:picMkLst>
            <pc:docMk/>
            <pc:sldMk cId="3682123704" sldId="269"/>
            <ac:picMk id="4" creationId="{44198A12-983B-0CF2-ACC4-506C5FAD1FD2}"/>
          </ac:picMkLst>
        </pc:picChg>
      </pc:sldChg>
      <pc:sldChg chg="addSp delSp modSp mod setBg">
        <pc:chgData name="Carroll, Tyler" userId="69b673a0-6af4-4d8a-830b-550d1bbab5f8" providerId="ADAL" clId="{FA54304C-E424-4A4A-81D9-ABDA7518D7DD}" dt="2023-01-05T11:36:15.642" v="13445"/>
        <pc:sldMkLst>
          <pc:docMk/>
          <pc:sldMk cId="1807319201" sldId="1688"/>
        </pc:sldMkLst>
        <pc:spChg chg="add del mod modVis">
          <ac:chgData name="Carroll, Tyler" userId="69b673a0-6af4-4d8a-830b-550d1bbab5f8" providerId="ADAL" clId="{FA54304C-E424-4A4A-81D9-ABDA7518D7DD}" dt="2023-01-03T22:13:12.710" v="9624"/>
          <ac:spMkLst>
            <pc:docMk/>
            <pc:sldMk cId="1807319201" sldId="1688"/>
            <ac:spMk id="3" creationId="{5F22DA02-6740-AC16-181F-C05630AD0181}"/>
          </ac:spMkLst>
        </pc:spChg>
        <pc:spChg chg="add del mod modVis">
          <ac:chgData name="Carroll, Tyler" userId="69b673a0-6af4-4d8a-830b-550d1bbab5f8" providerId="ADAL" clId="{FA54304C-E424-4A4A-81D9-ABDA7518D7DD}" dt="2023-01-05T11:36:10.194" v="13381"/>
          <ac:spMkLst>
            <pc:docMk/>
            <pc:sldMk cId="1807319201" sldId="1688"/>
            <ac:spMk id="3" creationId="{7FFE3FCB-263E-F4B6-7130-2B4FDBB46821}"/>
          </ac:spMkLst>
        </pc:spChg>
        <pc:spChg chg="add del mod modVis">
          <ac:chgData name="Carroll, Tyler" userId="69b673a0-6af4-4d8a-830b-550d1bbab5f8" providerId="ADAL" clId="{FA54304C-E424-4A4A-81D9-ABDA7518D7DD}" dt="2023-01-03T17:29:54.820" v="2860"/>
          <ac:spMkLst>
            <pc:docMk/>
            <pc:sldMk cId="1807319201" sldId="1688"/>
            <ac:spMk id="3" creationId="{DD91B07E-851A-2B13-7567-C1ADF93D4897}"/>
          </ac:spMkLst>
        </pc:spChg>
        <pc:spChg chg="mod">
          <ac:chgData name="Carroll, Tyler" userId="69b673a0-6af4-4d8a-830b-550d1bbab5f8" providerId="ADAL" clId="{FA54304C-E424-4A4A-81D9-ABDA7518D7DD}" dt="2023-01-05T11:36:15.594" v="13402" actId="948"/>
          <ac:spMkLst>
            <pc:docMk/>
            <pc:sldMk cId="1807319201" sldId="1688"/>
            <ac:spMk id="4" creationId="{5D4B5529-1EB4-841B-FD1A-D6BC6E8E91A1}"/>
          </ac:spMkLst>
        </pc:spChg>
        <pc:spChg chg="mod">
          <ac:chgData name="Carroll, Tyler" userId="69b673a0-6af4-4d8a-830b-550d1bbab5f8" providerId="ADAL" clId="{FA54304C-E424-4A4A-81D9-ABDA7518D7DD}" dt="2023-01-04T18:08:43.203" v="11851" actId="2711"/>
          <ac:spMkLst>
            <pc:docMk/>
            <pc:sldMk cId="1807319201" sldId="1688"/>
            <ac:spMk id="5" creationId="{4D0DE4E5-F4E0-6735-5FDC-4648F1C36CE3}"/>
          </ac:spMkLst>
        </pc:spChg>
        <pc:spChg chg="add del mod modVis">
          <ac:chgData name="Carroll, Tyler" userId="69b673a0-6af4-4d8a-830b-550d1bbab5f8" providerId="ADAL" clId="{FA54304C-E424-4A4A-81D9-ABDA7518D7DD}" dt="2023-01-04T17:59:43.532" v="11728"/>
          <ac:spMkLst>
            <pc:docMk/>
            <pc:sldMk cId="1807319201" sldId="1688"/>
            <ac:spMk id="6" creationId="{1C8CB0ED-9CBC-06C2-A69B-BF87B52A2CE2}"/>
          </ac:spMkLst>
        </pc:spChg>
        <pc:spChg chg="add del mod modVis">
          <ac:chgData name="Carroll, Tyler" userId="69b673a0-6af4-4d8a-830b-550d1bbab5f8" providerId="ADAL" clId="{FA54304C-E424-4A4A-81D9-ABDA7518D7DD}" dt="2023-01-05T11:36:15.642" v="13443"/>
          <ac:spMkLst>
            <pc:docMk/>
            <pc:sldMk cId="1807319201" sldId="1688"/>
            <ac:spMk id="6" creationId="{1CE157A5-277C-EB8E-AA46-F144B97915DF}"/>
          </ac:spMkLst>
        </pc:spChg>
        <pc:spChg chg="add del mod modVis">
          <ac:chgData name="Carroll, Tyler" userId="69b673a0-6af4-4d8a-830b-550d1bbab5f8" providerId="ADAL" clId="{FA54304C-E424-4A4A-81D9-ABDA7518D7DD}" dt="2023-01-04T17:59:47.187" v="11773"/>
          <ac:spMkLst>
            <pc:docMk/>
            <pc:sldMk cId="1807319201" sldId="1688"/>
            <ac:spMk id="7" creationId="{F4BAA54A-8211-66E1-158C-994363010945}"/>
          </ac:spMkLst>
        </pc:spChg>
        <pc:graphicFrameChg chg="mod">
          <ac:chgData name="Carroll, Tyler" userId="69b673a0-6af4-4d8a-830b-550d1bbab5f8" providerId="ADAL" clId="{FA54304C-E424-4A4A-81D9-ABDA7518D7DD}" dt="2023-01-05T11:36:15.642" v="13445"/>
          <ac:graphicFrameMkLst>
            <pc:docMk/>
            <pc:sldMk cId="1807319201" sldId="1688"/>
            <ac:graphicFrameMk id="8" creationId="{444FC1CA-C14B-7072-4696-7DDD55D51DC0}"/>
          </ac:graphicFrameMkLst>
        </pc:graphicFrameChg>
        <pc:picChg chg="del">
          <ac:chgData name="Carroll, Tyler" userId="69b673a0-6af4-4d8a-830b-550d1bbab5f8" providerId="ADAL" clId="{FA54304C-E424-4A4A-81D9-ABDA7518D7DD}" dt="2023-01-03T17:54:13.997" v="3529" actId="478"/>
          <ac:picMkLst>
            <pc:docMk/>
            <pc:sldMk cId="1807319201" sldId="1688"/>
            <ac:picMk id="10" creationId="{0EFCEDC0-E492-62A8-D496-37DD61EB2A51}"/>
          </ac:picMkLst>
        </pc:picChg>
      </pc:sldChg>
      <pc:sldChg chg="del">
        <pc:chgData name="Carroll, Tyler" userId="69b673a0-6af4-4d8a-830b-550d1bbab5f8" providerId="ADAL" clId="{FA54304C-E424-4A4A-81D9-ABDA7518D7DD}" dt="2023-01-03T17:49:56.799" v="3398" actId="47"/>
        <pc:sldMkLst>
          <pc:docMk/>
          <pc:sldMk cId="3312664756" sldId="13236"/>
        </pc:sldMkLst>
      </pc:sldChg>
      <pc:sldChg chg="addSp delSp modSp mod">
        <pc:chgData name="Carroll, Tyler" userId="69b673a0-6af4-4d8a-830b-550d1bbab5f8" providerId="ADAL" clId="{FA54304C-E424-4A4A-81D9-ABDA7518D7DD}" dt="2023-01-04T18:09:00.613" v="11854" actId="2711"/>
        <pc:sldMkLst>
          <pc:docMk/>
          <pc:sldMk cId="3159133943" sldId="13271"/>
        </pc:sldMkLst>
        <pc:spChg chg="mod">
          <ac:chgData name="Carroll, Tyler" userId="69b673a0-6af4-4d8a-830b-550d1bbab5f8" providerId="ADAL" clId="{FA54304C-E424-4A4A-81D9-ABDA7518D7DD}" dt="2023-01-03T22:13:50.285" v="9908" actId="948"/>
          <ac:spMkLst>
            <pc:docMk/>
            <pc:sldMk cId="3159133943" sldId="13271"/>
            <ac:spMk id="2" creationId="{11B50BBA-42E1-468F-A098-2D509D21E99E}"/>
          </ac:spMkLst>
        </pc:spChg>
        <pc:spChg chg="add del mod modVis">
          <ac:chgData name="Carroll, Tyler" userId="69b673a0-6af4-4d8a-830b-550d1bbab5f8" providerId="ADAL" clId="{FA54304C-E424-4A4A-81D9-ABDA7518D7DD}" dt="2023-01-03T22:13:45.112" v="9904"/>
          <ac:spMkLst>
            <pc:docMk/>
            <pc:sldMk cId="3159133943" sldId="13271"/>
            <ac:spMk id="3" creationId="{149629D0-7E9F-74C7-CB2B-857CE50E7D96}"/>
          </ac:spMkLst>
        </pc:spChg>
        <pc:spChg chg="add del mod modVis">
          <ac:chgData name="Carroll, Tyler" userId="69b673a0-6af4-4d8a-830b-550d1bbab5f8" providerId="ADAL" clId="{FA54304C-E424-4A4A-81D9-ABDA7518D7DD}" dt="2023-01-03T17:29:54.828" v="2872"/>
          <ac:spMkLst>
            <pc:docMk/>
            <pc:sldMk cId="3159133943" sldId="13271"/>
            <ac:spMk id="3" creationId="{BFF85852-723C-E1C0-FFC2-4E099698D398}"/>
          </ac:spMkLst>
        </pc:spChg>
        <pc:spChg chg="mod">
          <ac:chgData name="Carroll, Tyler" userId="69b673a0-6af4-4d8a-830b-550d1bbab5f8" providerId="ADAL" clId="{FA54304C-E424-4A4A-81D9-ABDA7518D7DD}" dt="2023-01-04T18:09:00.613" v="11854" actId="2711"/>
          <ac:spMkLst>
            <pc:docMk/>
            <pc:sldMk cId="3159133943" sldId="13271"/>
            <ac:spMk id="6" creationId="{3412A7A5-6506-4898-B299-04B43FD0ECAF}"/>
          </ac:spMkLst>
        </pc:spChg>
        <pc:spChg chg="add del mod modVis">
          <ac:chgData name="Carroll, Tyler" userId="69b673a0-6af4-4d8a-830b-550d1bbab5f8" providerId="ADAL" clId="{FA54304C-E424-4A4A-81D9-ABDA7518D7DD}" dt="2023-01-03T22:13:50.330" v="9949"/>
          <ac:spMkLst>
            <pc:docMk/>
            <pc:sldMk cId="3159133943" sldId="13271"/>
            <ac:spMk id="9" creationId="{E879210E-90D5-566F-4604-29E208AF2382}"/>
          </ac:spMkLst>
        </pc:spChg>
        <pc:graphicFrameChg chg="mod">
          <ac:chgData name="Carroll, Tyler" userId="69b673a0-6af4-4d8a-830b-550d1bbab5f8" providerId="ADAL" clId="{FA54304C-E424-4A4A-81D9-ABDA7518D7DD}" dt="2023-01-03T17:02:10.559" v="158" actId="207"/>
          <ac:graphicFrameMkLst>
            <pc:docMk/>
            <pc:sldMk cId="3159133943" sldId="13271"/>
            <ac:graphicFrameMk id="7" creationId="{F0689B78-1E5E-42C0-BCCA-5CED594D3BE7}"/>
          </ac:graphicFrameMkLst>
        </pc:graphicFrameChg>
        <pc:graphicFrameChg chg="mod">
          <ac:chgData name="Carroll, Tyler" userId="69b673a0-6af4-4d8a-830b-550d1bbab5f8" providerId="ADAL" clId="{FA54304C-E424-4A4A-81D9-ABDA7518D7DD}" dt="2023-01-03T22:13:50.333" v="9951"/>
          <ac:graphicFrameMkLst>
            <pc:docMk/>
            <pc:sldMk cId="3159133943" sldId="13271"/>
            <ac:graphicFrameMk id="8" creationId="{89DE4125-3BC5-723C-2199-5AF2E87F139D}"/>
          </ac:graphicFrameMkLst>
        </pc:graphicFrameChg>
        <pc:picChg chg="del">
          <ac:chgData name="Carroll, Tyler" userId="69b673a0-6af4-4d8a-830b-550d1bbab5f8" providerId="ADAL" clId="{FA54304C-E424-4A4A-81D9-ABDA7518D7DD}" dt="2023-01-03T17:54:20.405" v="3532" actId="478"/>
          <ac:picMkLst>
            <pc:docMk/>
            <pc:sldMk cId="3159133943" sldId="13271"/>
            <ac:picMk id="13" creationId="{E6845206-11C5-0C40-5CB2-08AE8C7B3847}"/>
          </ac:picMkLst>
        </pc:picChg>
      </pc:sldChg>
      <pc:sldChg chg="addSp delSp modSp add del mod setBg">
        <pc:chgData name="Carroll, Tyler" userId="69b673a0-6af4-4d8a-830b-550d1bbab5f8" providerId="ADAL" clId="{FA54304C-E424-4A4A-81D9-ABDA7518D7DD}" dt="2023-01-03T20:27:50.857" v="6863" actId="47"/>
        <pc:sldMkLst>
          <pc:docMk/>
          <pc:sldMk cId="2039514128" sldId="13359"/>
        </pc:sldMkLst>
        <pc:spChg chg="mod">
          <ac:chgData name="Carroll, Tyler" userId="69b673a0-6af4-4d8a-830b-550d1bbab5f8" providerId="ADAL" clId="{FA54304C-E424-4A4A-81D9-ABDA7518D7DD}" dt="2023-01-03T20:12:22.399" v="6518" actId="20577"/>
          <ac:spMkLst>
            <pc:docMk/>
            <pc:sldMk cId="2039514128" sldId="13359"/>
            <ac:spMk id="2" creationId="{FB7F8B9B-F682-88AB-41EF-2B2E86DCABEA}"/>
          </ac:spMkLst>
        </pc:spChg>
        <pc:spChg chg="add del mod modVis">
          <ac:chgData name="Carroll, Tyler" userId="69b673a0-6af4-4d8a-830b-550d1bbab5f8" providerId="ADAL" clId="{FA54304C-E424-4A4A-81D9-ABDA7518D7DD}" dt="2023-01-03T18:12:21.558" v="4390"/>
          <ac:spMkLst>
            <pc:docMk/>
            <pc:sldMk cId="2039514128" sldId="13359"/>
            <ac:spMk id="3" creationId="{2A64CF76-FEC7-2F27-3BDE-CCA620817F51}"/>
          </ac:spMkLst>
        </pc:spChg>
        <pc:spChg chg="mod">
          <ac:chgData name="Carroll, Tyler" userId="69b673a0-6af4-4d8a-830b-550d1bbab5f8" providerId="ADAL" clId="{FA54304C-E424-4A4A-81D9-ABDA7518D7DD}" dt="2023-01-03T18:26:00.909" v="5447" actId="1036"/>
          <ac:spMkLst>
            <pc:docMk/>
            <pc:sldMk cId="2039514128" sldId="13359"/>
            <ac:spMk id="4" creationId="{C8E4F9ED-32D7-0FD5-C63D-EE864638CB28}"/>
          </ac:spMkLst>
        </pc:spChg>
        <pc:spChg chg="mod">
          <ac:chgData name="Carroll, Tyler" userId="69b673a0-6af4-4d8a-830b-550d1bbab5f8" providerId="ADAL" clId="{FA54304C-E424-4A4A-81D9-ABDA7518D7DD}" dt="2023-01-03T18:12:21.022" v="4348"/>
          <ac:spMkLst>
            <pc:docMk/>
            <pc:sldMk cId="2039514128" sldId="13359"/>
            <ac:spMk id="5" creationId="{00637F8E-9D4E-2CFE-D420-E6641310B98A}"/>
          </ac:spMkLst>
        </pc:spChg>
        <pc:spChg chg="add del mod modVis">
          <ac:chgData name="Carroll, Tyler" userId="69b673a0-6af4-4d8a-830b-550d1bbab5f8" providerId="ADAL" clId="{FA54304C-E424-4A4A-81D9-ABDA7518D7DD}" dt="2023-01-03T18:25:42.862" v="5397"/>
          <ac:spMkLst>
            <pc:docMk/>
            <pc:sldMk cId="2039514128" sldId="13359"/>
            <ac:spMk id="6" creationId="{B65A1D12-5C0C-8519-EC29-DC6C06EE9EB9}"/>
          </ac:spMkLst>
        </pc:spChg>
        <pc:spChg chg="add del mod modVis">
          <ac:chgData name="Carroll, Tyler" userId="69b673a0-6af4-4d8a-830b-550d1bbab5f8" providerId="ADAL" clId="{FA54304C-E424-4A4A-81D9-ABDA7518D7DD}" dt="2023-01-03T18:25:46.212" v="5442"/>
          <ac:spMkLst>
            <pc:docMk/>
            <pc:sldMk cId="2039514128" sldId="13359"/>
            <ac:spMk id="9" creationId="{3A078695-7D36-10F1-1CCB-2EF214E262C4}"/>
          </ac:spMkLst>
        </pc:spChg>
        <pc:spChg chg="mod">
          <ac:chgData name="Carroll, Tyler" userId="69b673a0-6af4-4d8a-830b-550d1bbab5f8" providerId="ADAL" clId="{FA54304C-E424-4A4A-81D9-ABDA7518D7DD}" dt="2023-01-03T18:27:10.046" v="6153" actId="948"/>
          <ac:spMkLst>
            <pc:docMk/>
            <pc:sldMk cId="2039514128" sldId="13359"/>
            <ac:spMk id="10" creationId="{2F8B7626-8D49-68AE-F415-34DB604D5F0C}"/>
          </ac:spMkLst>
        </pc:spChg>
        <pc:spChg chg="add del mod modVis">
          <ac:chgData name="Carroll, Tyler" userId="69b673a0-6af4-4d8a-830b-550d1bbab5f8" providerId="ADAL" clId="{FA54304C-E424-4A4A-81D9-ABDA7518D7DD}" dt="2023-01-03T18:26:05.757" v="5492"/>
          <ac:spMkLst>
            <pc:docMk/>
            <pc:sldMk cId="2039514128" sldId="13359"/>
            <ac:spMk id="11" creationId="{750ECC5A-F540-9B3B-24A5-7BE95C663A7B}"/>
          </ac:spMkLst>
        </pc:spChg>
        <pc:spChg chg="add del mod modVis">
          <ac:chgData name="Carroll, Tyler" userId="69b673a0-6af4-4d8a-830b-550d1bbab5f8" providerId="ADAL" clId="{FA54304C-E424-4A4A-81D9-ABDA7518D7DD}" dt="2023-01-03T18:26:07.575" v="5551"/>
          <ac:spMkLst>
            <pc:docMk/>
            <pc:sldMk cId="2039514128" sldId="13359"/>
            <ac:spMk id="12" creationId="{350683FB-DC13-2C09-2516-FF87FA7F698C}"/>
          </ac:spMkLst>
        </pc:spChg>
        <pc:spChg chg="add del mod modVis">
          <ac:chgData name="Carroll, Tyler" userId="69b673a0-6af4-4d8a-830b-550d1bbab5f8" providerId="ADAL" clId="{FA54304C-E424-4A4A-81D9-ABDA7518D7DD}" dt="2023-01-03T18:27:02.773" v="5982"/>
          <ac:spMkLst>
            <pc:docMk/>
            <pc:sldMk cId="2039514128" sldId="13359"/>
            <ac:spMk id="13" creationId="{9AFCA9CB-0816-2DE7-A69A-54491C6C6204}"/>
          </ac:spMkLst>
        </pc:spChg>
        <pc:spChg chg="add del mod modVis">
          <ac:chgData name="Carroll, Tyler" userId="69b673a0-6af4-4d8a-830b-550d1bbab5f8" providerId="ADAL" clId="{FA54304C-E424-4A4A-81D9-ABDA7518D7DD}" dt="2023-01-03T18:27:05.990" v="6043"/>
          <ac:spMkLst>
            <pc:docMk/>
            <pc:sldMk cId="2039514128" sldId="13359"/>
            <ac:spMk id="14" creationId="{3997BF16-0EC6-A2AB-3813-C22CD3604915}"/>
          </ac:spMkLst>
        </pc:spChg>
        <pc:spChg chg="add del mod modVis">
          <ac:chgData name="Carroll, Tyler" userId="69b673a0-6af4-4d8a-830b-550d1bbab5f8" providerId="ADAL" clId="{FA54304C-E424-4A4A-81D9-ABDA7518D7DD}" dt="2023-01-03T18:27:06.557" v="6088"/>
          <ac:spMkLst>
            <pc:docMk/>
            <pc:sldMk cId="2039514128" sldId="13359"/>
            <ac:spMk id="15" creationId="{5E283B5E-3436-CCD2-ABFA-4D58B2B369F9}"/>
          </ac:spMkLst>
        </pc:spChg>
        <pc:spChg chg="add del mod modVis">
          <ac:chgData name="Carroll, Tyler" userId="69b673a0-6af4-4d8a-830b-550d1bbab5f8" providerId="ADAL" clId="{FA54304C-E424-4A4A-81D9-ABDA7518D7DD}" dt="2023-01-03T18:27:08.957" v="6144"/>
          <ac:spMkLst>
            <pc:docMk/>
            <pc:sldMk cId="2039514128" sldId="13359"/>
            <ac:spMk id="16" creationId="{9ABE707E-A073-900E-4066-DED4DF046472}"/>
          </ac:spMkLst>
        </pc:spChg>
        <pc:spChg chg="add del mod modVis">
          <ac:chgData name="Carroll, Tyler" userId="69b673a0-6af4-4d8a-830b-550d1bbab5f8" providerId="ADAL" clId="{FA54304C-E424-4A4A-81D9-ABDA7518D7DD}" dt="2023-01-03T18:27:10.082" v="6194"/>
          <ac:spMkLst>
            <pc:docMk/>
            <pc:sldMk cId="2039514128" sldId="13359"/>
            <ac:spMk id="17" creationId="{30387BF7-0A05-93BB-ABFA-BB0496557D67}"/>
          </ac:spMkLst>
        </pc:spChg>
        <pc:graphicFrameChg chg="mod">
          <ac:chgData name="Carroll, Tyler" userId="69b673a0-6af4-4d8a-830b-550d1bbab5f8" providerId="ADAL" clId="{FA54304C-E424-4A4A-81D9-ABDA7518D7DD}" dt="2023-01-03T18:27:10.082" v="6196"/>
          <ac:graphicFrameMkLst>
            <pc:docMk/>
            <pc:sldMk cId="2039514128" sldId="13359"/>
            <ac:graphicFrameMk id="7" creationId="{CF669542-599B-704E-D515-E0469F4E210C}"/>
          </ac:graphicFrameMkLst>
        </pc:graphicFrameChg>
        <pc:picChg chg="del">
          <ac:chgData name="Carroll, Tyler" userId="69b673a0-6af4-4d8a-830b-550d1bbab5f8" providerId="ADAL" clId="{FA54304C-E424-4A4A-81D9-ABDA7518D7DD}" dt="2023-01-03T17:53:50.695" v="3524" actId="478"/>
          <ac:picMkLst>
            <pc:docMk/>
            <pc:sldMk cId="2039514128" sldId="13359"/>
            <ac:picMk id="8" creationId="{766714EB-95F0-2BD4-7BE4-675C988DC99F}"/>
          </ac:picMkLst>
        </pc:picChg>
      </pc:sldChg>
      <pc:sldChg chg="addSp delSp modSp add mod setBg modNotesTx">
        <pc:chgData name="Carroll, Tyler" userId="69b673a0-6af4-4d8a-830b-550d1bbab5f8" providerId="ADAL" clId="{FA54304C-E424-4A4A-81D9-ABDA7518D7DD}" dt="2023-01-04T18:46:46.285" v="12732"/>
        <pc:sldMkLst>
          <pc:docMk/>
          <pc:sldMk cId="1950990667" sldId="13363"/>
        </pc:sldMkLst>
        <pc:spChg chg="mod">
          <ac:chgData name="Carroll, Tyler" userId="69b673a0-6af4-4d8a-830b-550d1bbab5f8" providerId="ADAL" clId="{FA54304C-E424-4A4A-81D9-ABDA7518D7DD}" dt="2023-01-03T22:08:42.785" v="8943" actId="1076"/>
          <ac:spMkLst>
            <pc:docMk/>
            <pc:sldMk cId="1950990667" sldId="13363"/>
            <ac:spMk id="2" creationId="{FB7F8B9B-F682-88AB-41EF-2B2E86DCABEA}"/>
          </ac:spMkLst>
        </pc:spChg>
        <pc:spChg chg="add del mod modVis">
          <ac:chgData name="Carroll, Tyler" userId="69b673a0-6af4-4d8a-830b-550d1bbab5f8" providerId="ADAL" clId="{FA54304C-E424-4A4A-81D9-ABDA7518D7DD}" dt="2023-01-03T18:12:24.888" v="4435"/>
          <ac:spMkLst>
            <pc:docMk/>
            <pc:sldMk cId="1950990667" sldId="13363"/>
            <ac:spMk id="3" creationId="{27A200FF-4164-DF21-C456-42A92AC25B6B}"/>
          </ac:spMkLst>
        </pc:spChg>
        <pc:spChg chg="add del mod modVis">
          <ac:chgData name="Carroll, Tyler" userId="69b673a0-6af4-4d8a-830b-550d1bbab5f8" providerId="ADAL" clId="{FA54304C-E424-4A4A-81D9-ABDA7518D7DD}" dt="2023-01-03T22:08:46.209" v="8986"/>
          <ac:spMkLst>
            <pc:docMk/>
            <pc:sldMk cId="1950990667" sldId="13363"/>
            <ac:spMk id="3" creationId="{FC76632F-5472-CF0A-B8A2-E62EB608EB47}"/>
          </ac:spMkLst>
        </pc:spChg>
        <pc:spChg chg="mod">
          <ac:chgData name="Carroll, Tyler" userId="69b673a0-6af4-4d8a-830b-550d1bbab5f8" providerId="ADAL" clId="{FA54304C-E424-4A4A-81D9-ABDA7518D7DD}" dt="2023-01-03T21:15:05.373" v="7511" actId="2711"/>
          <ac:spMkLst>
            <pc:docMk/>
            <pc:sldMk cId="1950990667" sldId="13363"/>
            <ac:spMk id="4" creationId="{C8E4F9ED-32D7-0FD5-C63D-EE864638CB28}"/>
          </ac:spMkLst>
        </pc:spChg>
        <pc:spChg chg="mod">
          <ac:chgData name="Carroll, Tyler" userId="69b673a0-6af4-4d8a-830b-550d1bbab5f8" providerId="ADAL" clId="{FA54304C-E424-4A4A-81D9-ABDA7518D7DD}" dt="2023-01-04T18:04:11.615" v="11841" actId="2711"/>
          <ac:spMkLst>
            <pc:docMk/>
            <pc:sldMk cId="1950990667" sldId="13363"/>
            <ac:spMk id="5" creationId="{00637F8E-9D4E-2CFE-D420-E6641310B98A}"/>
          </ac:spMkLst>
        </pc:spChg>
        <pc:spChg chg="add del mod modVis">
          <ac:chgData name="Carroll, Tyler" userId="69b673a0-6af4-4d8a-830b-550d1bbab5f8" providerId="ADAL" clId="{FA54304C-E424-4A4A-81D9-ABDA7518D7DD}" dt="2023-01-03T18:26:33.624" v="5620"/>
          <ac:spMkLst>
            <pc:docMk/>
            <pc:sldMk cId="1950990667" sldId="13363"/>
            <ac:spMk id="6" creationId="{FB76FC05-1BCE-E89C-C101-6B4EF452C969}"/>
          </ac:spMkLst>
        </pc:spChg>
        <pc:spChg chg="add del">
          <ac:chgData name="Carroll, Tyler" userId="69b673a0-6af4-4d8a-830b-550d1bbab5f8" providerId="ADAL" clId="{FA54304C-E424-4A4A-81D9-ABDA7518D7DD}" dt="2023-01-04T18:46:44.627" v="12731" actId="22"/>
          <ac:spMkLst>
            <pc:docMk/>
            <pc:sldMk cId="1950990667" sldId="13363"/>
            <ac:spMk id="8" creationId="{87ACEBFF-447A-6116-5D53-85395760D154}"/>
          </ac:spMkLst>
        </pc:spChg>
        <pc:spChg chg="add del mod modVis">
          <ac:chgData name="Carroll, Tyler" userId="69b673a0-6af4-4d8a-830b-550d1bbab5f8" providerId="ADAL" clId="{FA54304C-E424-4A4A-81D9-ABDA7518D7DD}" dt="2023-01-03T18:26:34.575" v="5666"/>
          <ac:spMkLst>
            <pc:docMk/>
            <pc:sldMk cId="1950990667" sldId="13363"/>
            <ac:spMk id="9" creationId="{97E52E1C-CFFE-A3CF-B58A-045FA1030627}"/>
          </ac:spMkLst>
        </pc:spChg>
        <pc:spChg chg="mod">
          <ac:chgData name="Carroll, Tyler" userId="69b673a0-6af4-4d8a-830b-550d1bbab5f8" providerId="ADAL" clId="{FA54304C-E424-4A4A-81D9-ABDA7518D7DD}" dt="2023-01-03T22:08:46.170" v="8945" actId="948"/>
          <ac:spMkLst>
            <pc:docMk/>
            <pc:sldMk cId="1950990667" sldId="13363"/>
            <ac:spMk id="10" creationId="{2F8B7626-8D49-68AE-F415-34DB604D5F0C}"/>
          </ac:spMkLst>
        </pc:spChg>
        <pc:spChg chg="add del mod modVis">
          <ac:chgData name="Carroll, Tyler" userId="69b673a0-6af4-4d8a-830b-550d1bbab5f8" providerId="ADAL" clId="{FA54304C-E424-4A4A-81D9-ABDA7518D7DD}" dt="2023-01-03T18:26:38.282" v="5726"/>
          <ac:spMkLst>
            <pc:docMk/>
            <pc:sldMk cId="1950990667" sldId="13363"/>
            <ac:spMk id="11" creationId="{E5F83F69-C69A-B1A3-A4D9-030ADB0EDB4C}"/>
          </ac:spMkLst>
        </pc:spChg>
        <pc:spChg chg="add del mod modVis">
          <ac:chgData name="Carroll, Tyler" userId="69b673a0-6af4-4d8a-830b-550d1bbab5f8" providerId="ADAL" clId="{FA54304C-E424-4A4A-81D9-ABDA7518D7DD}" dt="2023-01-03T18:26:41.477" v="5789"/>
          <ac:spMkLst>
            <pc:docMk/>
            <pc:sldMk cId="1950990667" sldId="13363"/>
            <ac:spMk id="12" creationId="{4A95A4DB-34AF-B543-106E-60C84FE2CA66}"/>
          </ac:spMkLst>
        </pc:spChg>
        <pc:spChg chg="add del mod modVis">
          <ac:chgData name="Carroll, Tyler" userId="69b673a0-6af4-4d8a-830b-550d1bbab5f8" providerId="ADAL" clId="{FA54304C-E424-4A4A-81D9-ABDA7518D7DD}" dt="2023-01-03T18:26:47.859" v="5863"/>
          <ac:spMkLst>
            <pc:docMk/>
            <pc:sldMk cId="1950990667" sldId="13363"/>
            <ac:spMk id="13" creationId="{89A8D406-CD64-FD14-8CC0-C3EFBDF6C2A1}"/>
          </ac:spMkLst>
        </pc:spChg>
        <pc:spChg chg="add del mod modVis">
          <ac:chgData name="Carroll, Tyler" userId="69b673a0-6af4-4d8a-830b-550d1bbab5f8" providerId="ADAL" clId="{FA54304C-E424-4A4A-81D9-ABDA7518D7DD}" dt="2023-01-03T18:26:56.852" v="5936"/>
          <ac:spMkLst>
            <pc:docMk/>
            <pc:sldMk cId="1950990667" sldId="13363"/>
            <ac:spMk id="14" creationId="{AFF21212-CC17-8E07-68BA-C4362D421993}"/>
          </ac:spMkLst>
        </pc:spChg>
        <pc:graphicFrameChg chg="mod">
          <ac:chgData name="Carroll, Tyler" userId="69b673a0-6af4-4d8a-830b-550d1bbab5f8" providerId="ADAL" clId="{FA54304C-E424-4A4A-81D9-ABDA7518D7DD}" dt="2023-01-03T22:08:46.211" v="8988"/>
          <ac:graphicFrameMkLst>
            <pc:docMk/>
            <pc:sldMk cId="1950990667" sldId="13363"/>
            <ac:graphicFrameMk id="7" creationId="{CF669542-599B-704E-D515-E0469F4E210C}"/>
          </ac:graphicFrameMkLst>
        </pc:graphicFrameChg>
        <pc:picChg chg="del">
          <ac:chgData name="Carroll, Tyler" userId="69b673a0-6af4-4d8a-830b-550d1bbab5f8" providerId="ADAL" clId="{FA54304C-E424-4A4A-81D9-ABDA7518D7DD}" dt="2023-01-03T17:53:52.614" v="3525" actId="478"/>
          <ac:picMkLst>
            <pc:docMk/>
            <pc:sldMk cId="1950990667" sldId="13363"/>
            <ac:picMk id="8" creationId="{766714EB-95F0-2BD4-7BE4-675C988DC99F}"/>
          </ac:picMkLst>
        </pc:picChg>
      </pc:sldChg>
      <pc:sldChg chg="addSp delSp modSp add del mod setBg">
        <pc:chgData name="Carroll, Tyler" userId="69b673a0-6af4-4d8a-830b-550d1bbab5f8" providerId="ADAL" clId="{FA54304C-E424-4A4A-81D9-ABDA7518D7DD}" dt="2023-01-03T20:13:54.981" v="6648" actId="47"/>
        <pc:sldMkLst>
          <pc:docMk/>
          <pc:sldMk cId="2713369607" sldId="2147376907"/>
        </pc:sldMkLst>
        <pc:spChg chg="mod">
          <ac:chgData name="Carroll, Tyler" userId="69b673a0-6af4-4d8a-830b-550d1bbab5f8" providerId="ADAL" clId="{FA54304C-E424-4A4A-81D9-ABDA7518D7DD}" dt="2023-01-03T18:25:10.408" v="5271" actId="1076"/>
          <ac:spMkLst>
            <pc:docMk/>
            <pc:sldMk cId="2713369607" sldId="2147376907"/>
            <ac:spMk id="2" creationId="{FB7F8B9B-F682-88AB-41EF-2B2E86DCABEA}"/>
          </ac:spMkLst>
        </pc:spChg>
        <pc:spChg chg="mod">
          <ac:chgData name="Carroll, Tyler" userId="69b673a0-6af4-4d8a-830b-550d1bbab5f8" providerId="ADAL" clId="{FA54304C-E424-4A4A-81D9-ABDA7518D7DD}" dt="2023-01-03T18:25:13.880" v="5273" actId="948"/>
          <ac:spMkLst>
            <pc:docMk/>
            <pc:sldMk cId="2713369607" sldId="2147376907"/>
            <ac:spMk id="3" creationId="{D2C3D60C-DE1C-0DF0-7EF7-0069ABF6B7EB}"/>
          </ac:spMkLst>
        </pc:spChg>
        <pc:spChg chg="add del mod modVis">
          <ac:chgData name="Carroll, Tyler" userId="69b673a0-6af4-4d8a-830b-550d1bbab5f8" providerId="ADAL" clId="{FA54304C-E424-4A4A-81D9-ABDA7518D7DD}" dt="2023-01-03T18:12:18.928" v="4345"/>
          <ac:spMkLst>
            <pc:docMk/>
            <pc:sldMk cId="2713369607" sldId="2147376907"/>
            <ac:spMk id="4" creationId="{E1696BF3-AA2E-D377-23EB-4F403A2B36B3}"/>
          </ac:spMkLst>
        </pc:spChg>
        <pc:spChg chg="mod">
          <ac:chgData name="Carroll, Tyler" userId="69b673a0-6af4-4d8a-830b-550d1bbab5f8" providerId="ADAL" clId="{FA54304C-E424-4A4A-81D9-ABDA7518D7DD}" dt="2023-01-03T18:12:18.374" v="4303"/>
          <ac:spMkLst>
            <pc:docMk/>
            <pc:sldMk cId="2713369607" sldId="2147376907"/>
            <ac:spMk id="5" creationId="{00637F8E-9D4E-2CFE-D420-E6641310B98A}"/>
          </ac:spMkLst>
        </pc:spChg>
        <pc:spChg chg="add del mod modVis">
          <ac:chgData name="Carroll, Tyler" userId="69b673a0-6af4-4d8a-830b-550d1bbab5f8" providerId="ADAL" clId="{FA54304C-E424-4A4A-81D9-ABDA7518D7DD}" dt="2023-01-03T18:24:45.519" v="5061"/>
          <ac:spMkLst>
            <pc:docMk/>
            <pc:sldMk cId="2713369607" sldId="2147376907"/>
            <ac:spMk id="6" creationId="{63E1E294-CA3D-26B8-A784-B622C4469D40}"/>
          </ac:spMkLst>
        </pc:spChg>
        <pc:spChg chg="add del mod modVis">
          <ac:chgData name="Carroll, Tyler" userId="69b673a0-6af4-4d8a-830b-550d1bbab5f8" providerId="ADAL" clId="{FA54304C-E424-4A4A-81D9-ABDA7518D7DD}" dt="2023-01-03T18:24:47.097" v="5113"/>
          <ac:spMkLst>
            <pc:docMk/>
            <pc:sldMk cId="2713369607" sldId="2147376907"/>
            <ac:spMk id="9" creationId="{D5E7D0C1-E3F6-01C5-F0B5-BEC63F756EAA}"/>
          </ac:spMkLst>
        </pc:spChg>
        <pc:spChg chg="add del mod modVis">
          <ac:chgData name="Carroll, Tyler" userId="69b673a0-6af4-4d8a-830b-550d1bbab5f8" providerId="ADAL" clId="{FA54304C-E424-4A4A-81D9-ABDA7518D7DD}" dt="2023-01-03T18:24:50.605" v="5177"/>
          <ac:spMkLst>
            <pc:docMk/>
            <pc:sldMk cId="2713369607" sldId="2147376907"/>
            <ac:spMk id="10" creationId="{119EF677-F5E8-75E5-9321-76ADA8A08BB8}"/>
          </ac:spMkLst>
        </pc:spChg>
        <pc:spChg chg="add del mod modVis">
          <ac:chgData name="Carroll, Tyler" userId="69b673a0-6af4-4d8a-830b-550d1bbab5f8" providerId="ADAL" clId="{FA54304C-E424-4A4A-81D9-ABDA7518D7DD}" dt="2023-01-03T18:24:55.502" v="5222"/>
          <ac:spMkLst>
            <pc:docMk/>
            <pc:sldMk cId="2713369607" sldId="2147376907"/>
            <ac:spMk id="11" creationId="{09A228EC-5D49-F925-72AC-DE9ED1243E90}"/>
          </ac:spMkLst>
        </pc:spChg>
        <pc:spChg chg="add del mod modVis">
          <ac:chgData name="Carroll, Tyler" userId="69b673a0-6af4-4d8a-830b-550d1bbab5f8" providerId="ADAL" clId="{FA54304C-E424-4A4A-81D9-ABDA7518D7DD}" dt="2023-01-03T18:25:06.342" v="5268"/>
          <ac:spMkLst>
            <pc:docMk/>
            <pc:sldMk cId="2713369607" sldId="2147376907"/>
            <ac:spMk id="12" creationId="{467D81C8-2ED3-21CA-418F-8F4B8397F993}"/>
          </ac:spMkLst>
        </pc:spChg>
        <pc:spChg chg="add del mod modVis">
          <ac:chgData name="Carroll, Tyler" userId="69b673a0-6af4-4d8a-830b-550d1bbab5f8" providerId="ADAL" clId="{FA54304C-E424-4A4A-81D9-ABDA7518D7DD}" dt="2023-01-03T18:25:13.909" v="5314"/>
          <ac:spMkLst>
            <pc:docMk/>
            <pc:sldMk cId="2713369607" sldId="2147376907"/>
            <ac:spMk id="13" creationId="{D7EEFA9F-6FC2-60B5-2779-259645071D7E}"/>
          </ac:spMkLst>
        </pc:spChg>
        <pc:graphicFrameChg chg="mod">
          <ac:chgData name="Carroll, Tyler" userId="69b673a0-6af4-4d8a-830b-550d1bbab5f8" providerId="ADAL" clId="{FA54304C-E424-4A4A-81D9-ABDA7518D7DD}" dt="2023-01-03T18:25:13.909" v="5316"/>
          <ac:graphicFrameMkLst>
            <pc:docMk/>
            <pc:sldMk cId="2713369607" sldId="2147376907"/>
            <ac:graphicFrameMk id="7" creationId="{CF669542-599B-704E-D515-E0469F4E210C}"/>
          </ac:graphicFrameMkLst>
        </pc:graphicFrameChg>
        <pc:picChg chg="del">
          <ac:chgData name="Carroll, Tyler" userId="69b673a0-6af4-4d8a-830b-550d1bbab5f8" providerId="ADAL" clId="{FA54304C-E424-4A4A-81D9-ABDA7518D7DD}" dt="2023-01-03T17:53:48.038" v="3523" actId="478"/>
          <ac:picMkLst>
            <pc:docMk/>
            <pc:sldMk cId="2713369607" sldId="2147376907"/>
            <ac:picMk id="8" creationId="{766714EB-95F0-2BD4-7BE4-675C988DC99F}"/>
          </ac:picMkLst>
        </pc:picChg>
      </pc:sldChg>
      <pc:sldChg chg="addSp delSp modSp add del mod setBg">
        <pc:chgData name="Carroll, Tyler" userId="69b673a0-6af4-4d8a-830b-550d1bbab5f8" providerId="ADAL" clId="{FA54304C-E424-4A4A-81D9-ABDA7518D7DD}" dt="2023-01-03T20:28:30.568" v="6954" actId="47"/>
        <pc:sldMkLst>
          <pc:docMk/>
          <pc:sldMk cId="423113660" sldId="2147376910"/>
        </pc:sldMkLst>
        <pc:spChg chg="add del mod">
          <ac:chgData name="Carroll, Tyler" userId="69b673a0-6af4-4d8a-830b-550d1bbab5f8" providerId="ADAL" clId="{FA54304C-E424-4A4A-81D9-ABDA7518D7DD}" dt="2023-01-03T18:09:43.235" v="4104"/>
          <ac:spMkLst>
            <pc:docMk/>
            <pc:sldMk cId="423113660" sldId="2147376910"/>
            <ac:spMk id="3" creationId="{126013DA-E69E-FD7E-6337-CD9A84156CC8}"/>
          </ac:spMkLst>
        </pc:spChg>
        <pc:spChg chg="mod">
          <ac:chgData name="Carroll, Tyler" userId="69b673a0-6af4-4d8a-830b-550d1bbab5f8" providerId="ADAL" clId="{FA54304C-E424-4A4A-81D9-ABDA7518D7DD}" dt="2023-01-03T18:12:26.737" v="4438"/>
          <ac:spMkLst>
            <pc:docMk/>
            <pc:sldMk cId="423113660" sldId="2147376910"/>
            <ac:spMk id="5" creationId="{00637F8E-9D4E-2CFE-D420-E6641310B98A}"/>
          </ac:spMkLst>
        </pc:spChg>
        <pc:spChg chg="add del mod modVis">
          <ac:chgData name="Carroll, Tyler" userId="69b673a0-6af4-4d8a-830b-550d1bbab5f8" providerId="ADAL" clId="{FA54304C-E424-4A4A-81D9-ABDA7518D7DD}" dt="2023-01-03T18:12:27.285" v="4480"/>
          <ac:spMkLst>
            <pc:docMk/>
            <pc:sldMk cId="423113660" sldId="2147376910"/>
            <ac:spMk id="6" creationId="{2D87F38C-8147-6A91-FA10-FB83C581E670}"/>
          </ac:spMkLst>
        </pc:spChg>
        <pc:spChg chg="add del mod modVis">
          <ac:chgData name="Carroll, Tyler" userId="69b673a0-6af4-4d8a-830b-550d1bbab5f8" providerId="ADAL" clId="{FA54304C-E424-4A4A-81D9-ABDA7518D7DD}" dt="2023-01-03T18:27:36.315" v="6289" actId="962"/>
          <ac:spMkLst>
            <pc:docMk/>
            <pc:sldMk cId="423113660" sldId="2147376910"/>
            <ac:spMk id="8" creationId="{B1EAA5CA-A571-F1A9-5C59-EA84CF15B6D7}"/>
          </ac:spMkLst>
        </pc:spChg>
        <pc:spChg chg="add del mod modVis">
          <ac:chgData name="Carroll, Tyler" userId="69b673a0-6af4-4d8a-830b-550d1bbab5f8" providerId="ADAL" clId="{FA54304C-E424-4A4A-81D9-ABDA7518D7DD}" dt="2023-01-03T18:27:45.033" v="6367"/>
          <ac:spMkLst>
            <pc:docMk/>
            <pc:sldMk cId="423113660" sldId="2147376910"/>
            <ac:spMk id="9" creationId="{CCA8CD17-9958-243A-DA56-3F219555CCD5}"/>
          </ac:spMkLst>
        </pc:spChg>
        <pc:spChg chg="mod">
          <ac:chgData name="Carroll, Tyler" userId="69b673a0-6af4-4d8a-830b-550d1bbab5f8" providerId="ADAL" clId="{FA54304C-E424-4A4A-81D9-ABDA7518D7DD}" dt="2023-01-03T18:27:49.118" v="6387" actId="948"/>
          <ac:spMkLst>
            <pc:docMk/>
            <pc:sldMk cId="423113660" sldId="2147376910"/>
            <ac:spMk id="10" creationId="{2F8B7626-8D49-68AE-F415-34DB604D5F0C}"/>
          </ac:spMkLst>
        </pc:spChg>
        <pc:spChg chg="add del mod modVis">
          <ac:chgData name="Carroll, Tyler" userId="69b673a0-6af4-4d8a-830b-550d1bbab5f8" providerId="ADAL" clId="{FA54304C-E424-4A4A-81D9-ABDA7518D7DD}" dt="2023-01-03T18:27:49.157" v="6428"/>
          <ac:spMkLst>
            <pc:docMk/>
            <pc:sldMk cId="423113660" sldId="2147376910"/>
            <ac:spMk id="11" creationId="{D56F9EE3-84DE-D369-EDEC-A32BC7B9C518}"/>
          </ac:spMkLst>
        </pc:spChg>
        <pc:graphicFrameChg chg="mod">
          <ac:chgData name="Carroll, Tyler" userId="69b673a0-6af4-4d8a-830b-550d1bbab5f8" providerId="ADAL" clId="{FA54304C-E424-4A4A-81D9-ABDA7518D7DD}" dt="2023-01-03T18:27:49.160" v="6430"/>
          <ac:graphicFrameMkLst>
            <pc:docMk/>
            <pc:sldMk cId="423113660" sldId="2147376910"/>
            <ac:graphicFrameMk id="7" creationId="{CF669542-599B-704E-D515-E0469F4E210C}"/>
          </ac:graphicFrameMkLst>
        </pc:graphicFrameChg>
        <pc:picChg chg="del">
          <ac:chgData name="Carroll, Tyler" userId="69b673a0-6af4-4d8a-830b-550d1bbab5f8" providerId="ADAL" clId="{FA54304C-E424-4A4A-81D9-ABDA7518D7DD}" dt="2023-01-03T17:53:54.688" v="3526" actId="478"/>
          <ac:picMkLst>
            <pc:docMk/>
            <pc:sldMk cId="423113660" sldId="2147376910"/>
            <ac:picMk id="16" creationId="{F4FAB544-BBD6-2134-8F8B-FF7A5544EE24}"/>
          </ac:picMkLst>
        </pc:picChg>
      </pc:sldChg>
      <pc:sldChg chg="del">
        <pc:chgData name="Carroll, Tyler" userId="69b673a0-6af4-4d8a-830b-550d1bbab5f8" providerId="ADAL" clId="{FA54304C-E424-4A4A-81D9-ABDA7518D7DD}" dt="2023-01-03T17:49:56.799" v="3398" actId="47"/>
        <pc:sldMkLst>
          <pc:docMk/>
          <pc:sldMk cId="1961350001" sldId="2147376912"/>
        </pc:sldMkLst>
      </pc:sldChg>
      <pc:sldChg chg="delSp modSp add del mod">
        <pc:chgData name="Carroll, Tyler" userId="69b673a0-6af4-4d8a-830b-550d1bbab5f8" providerId="ADAL" clId="{FA54304C-E424-4A4A-81D9-ABDA7518D7DD}" dt="2023-01-03T20:15:55.862" v="6657" actId="47"/>
        <pc:sldMkLst>
          <pc:docMk/>
          <pc:sldMk cId="2214521594" sldId="2147376917"/>
        </pc:sldMkLst>
        <pc:spChg chg="mod">
          <ac:chgData name="Carroll, Tyler" userId="69b673a0-6af4-4d8a-830b-550d1bbab5f8" providerId="ADAL" clId="{FA54304C-E424-4A4A-81D9-ABDA7518D7DD}" dt="2023-01-03T17:48:11.717" v="3362" actId="20577"/>
          <ac:spMkLst>
            <pc:docMk/>
            <pc:sldMk cId="2214521594" sldId="2147376917"/>
            <ac:spMk id="2" creationId="{AEF5B551-3BE1-4B9C-8E49-8582FF788A9F}"/>
          </ac:spMkLst>
        </pc:spChg>
        <pc:spChg chg="mod">
          <ac:chgData name="Carroll, Tyler" userId="69b673a0-6af4-4d8a-830b-550d1bbab5f8" providerId="ADAL" clId="{FA54304C-E424-4A4A-81D9-ABDA7518D7DD}" dt="2023-01-03T18:13:39.985" v="4570" actId="1038"/>
          <ac:spMkLst>
            <pc:docMk/>
            <pc:sldMk cId="2214521594" sldId="2147376917"/>
            <ac:spMk id="4" creationId="{FDAB3763-2778-18E4-AA37-7002C60AE8BF}"/>
          </ac:spMkLst>
        </pc:spChg>
        <pc:spChg chg="mod">
          <ac:chgData name="Carroll, Tyler" userId="69b673a0-6af4-4d8a-830b-550d1bbab5f8" providerId="ADAL" clId="{FA54304C-E424-4A4A-81D9-ABDA7518D7DD}" dt="2023-01-03T17:09:22.403" v="171"/>
          <ac:spMkLst>
            <pc:docMk/>
            <pc:sldMk cId="2214521594" sldId="2147376917"/>
            <ac:spMk id="5" creationId="{F55CACB5-3DA5-4E10-A7EA-F4CA7C180120}"/>
          </ac:spMkLst>
        </pc:spChg>
        <pc:picChg chg="del">
          <ac:chgData name="Carroll, Tyler" userId="69b673a0-6af4-4d8a-830b-550d1bbab5f8" providerId="ADAL" clId="{FA54304C-E424-4A4A-81D9-ABDA7518D7DD}" dt="2023-01-03T17:53:43.465" v="3521" actId="478"/>
          <ac:picMkLst>
            <pc:docMk/>
            <pc:sldMk cId="2214521594" sldId="2147376917"/>
            <ac:picMk id="8" creationId="{44DDDF5A-B084-29C7-D441-2283180EC783}"/>
          </ac:picMkLst>
        </pc:picChg>
      </pc:sldChg>
      <pc:sldChg chg="addSp delSp modSp add del mod ord setBg modClrScheme chgLayout">
        <pc:chgData name="Carroll, Tyler" userId="69b673a0-6af4-4d8a-830b-550d1bbab5f8" providerId="ADAL" clId="{FA54304C-E424-4A4A-81D9-ABDA7518D7DD}" dt="2023-01-03T17:44:49.899" v="3360" actId="2696"/>
        <pc:sldMkLst>
          <pc:docMk/>
          <pc:sldMk cId="2189048672" sldId="2147376919"/>
        </pc:sldMkLst>
        <pc:spChg chg="add del mod">
          <ac:chgData name="Carroll, Tyler" userId="69b673a0-6af4-4d8a-830b-550d1bbab5f8" providerId="ADAL" clId="{FA54304C-E424-4A4A-81D9-ABDA7518D7DD}" dt="2023-01-03T17:20:56.599" v="915"/>
          <ac:spMkLst>
            <pc:docMk/>
            <pc:sldMk cId="2189048672" sldId="2147376919"/>
            <ac:spMk id="3" creationId="{10E0B6A6-4AEA-7F63-AA07-A597F4938381}"/>
          </ac:spMkLst>
        </pc:spChg>
        <pc:spChg chg="add del mod modVis">
          <ac:chgData name="Carroll, Tyler" userId="69b673a0-6af4-4d8a-830b-550d1bbab5f8" providerId="ADAL" clId="{FA54304C-E424-4A4A-81D9-ABDA7518D7DD}" dt="2023-01-03T17:19:36.489" v="849"/>
          <ac:spMkLst>
            <pc:docMk/>
            <pc:sldMk cId="2189048672" sldId="2147376919"/>
            <ac:spMk id="4" creationId="{2A9F570C-32EC-7BB0-FD1B-9DFB0CB5499C}"/>
          </ac:spMkLst>
        </pc:spChg>
        <pc:spChg chg="add del mod modVis">
          <ac:chgData name="Carroll, Tyler" userId="69b673a0-6af4-4d8a-830b-550d1bbab5f8" providerId="ADAL" clId="{FA54304C-E424-4A4A-81D9-ABDA7518D7DD}" dt="2023-01-03T17:19:40.171" v="907"/>
          <ac:spMkLst>
            <pc:docMk/>
            <pc:sldMk cId="2189048672" sldId="2147376919"/>
            <ac:spMk id="5" creationId="{811696D5-FFA6-D374-CE3A-3F842B40378F}"/>
          </ac:spMkLst>
        </pc:spChg>
        <pc:spChg chg="add del mod ord">
          <ac:chgData name="Carroll, Tyler" userId="69b673a0-6af4-4d8a-830b-550d1bbab5f8" providerId="ADAL" clId="{FA54304C-E424-4A4A-81D9-ABDA7518D7DD}" dt="2023-01-03T17:21:09.844" v="924" actId="478"/>
          <ac:spMkLst>
            <pc:docMk/>
            <pc:sldMk cId="2189048672" sldId="2147376919"/>
            <ac:spMk id="6" creationId="{0781359A-4BA9-E867-6FC2-455856C30FBE}"/>
          </ac:spMkLst>
        </pc:spChg>
        <pc:spChg chg="add del mod ord">
          <ac:chgData name="Carroll, Tyler" userId="69b673a0-6af4-4d8a-830b-550d1bbab5f8" providerId="ADAL" clId="{FA54304C-E424-4A4A-81D9-ABDA7518D7DD}" dt="2023-01-03T17:21:02.563" v="921" actId="478"/>
          <ac:spMkLst>
            <pc:docMk/>
            <pc:sldMk cId="2189048672" sldId="2147376919"/>
            <ac:spMk id="8" creationId="{6E416292-F2F2-D9A3-7D4E-350FEC298BE6}"/>
          </ac:spMkLst>
        </pc:spChg>
        <pc:spChg chg="add del mod ord">
          <ac:chgData name="Carroll, Tyler" userId="69b673a0-6af4-4d8a-830b-550d1bbab5f8" providerId="ADAL" clId="{FA54304C-E424-4A4A-81D9-ABDA7518D7DD}" dt="2023-01-03T17:21:23.643" v="927" actId="478"/>
          <ac:spMkLst>
            <pc:docMk/>
            <pc:sldMk cId="2189048672" sldId="2147376919"/>
            <ac:spMk id="9" creationId="{5A758B67-84AF-F705-C231-E97218995B27}"/>
          </ac:spMkLst>
        </pc:spChg>
        <pc:spChg chg="add del mod modVis">
          <ac:chgData name="Carroll, Tyler" userId="69b673a0-6af4-4d8a-830b-550d1bbab5f8" providerId="ADAL" clId="{FA54304C-E424-4A4A-81D9-ABDA7518D7DD}" dt="2023-01-03T17:21:39.167" v="977"/>
          <ac:spMkLst>
            <pc:docMk/>
            <pc:sldMk cId="2189048672" sldId="2147376919"/>
            <ac:spMk id="10" creationId="{1CA862A1-97B9-4370-E280-14C1FDB522C4}"/>
          </ac:spMkLst>
        </pc:spChg>
        <pc:spChg chg="add del mod modVis">
          <ac:chgData name="Carroll, Tyler" userId="69b673a0-6af4-4d8a-830b-550d1bbab5f8" providerId="ADAL" clId="{FA54304C-E424-4A4A-81D9-ABDA7518D7DD}" dt="2023-01-03T17:21:42.200" v="1022"/>
          <ac:spMkLst>
            <pc:docMk/>
            <pc:sldMk cId="2189048672" sldId="2147376919"/>
            <ac:spMk id="11" creationId="{16B9BD85-0204-AF18-6987-1E49C7F2F9D7}"/>
          </ac:spMkLst>
        </pc:spChg>
        <pc:spChg chg="add del mod modVis">
          <ac:chgData name="Carroll, Tyler" userId="69b673a0-6af4-4d8a-830b-550d1bbab5f8" providerId="ADAL" clId="{FA54304C-E424-4A4A-81D9-ABDA7518D7DD}" dt="2023-01-03T17:21:50.743" v="1067"/>
          <ac:spMkLst>
            <pc:docMk/>
            <pc:sldMk cId="2189048672" sldId="2147376919"/>
            <ac:spMk id="12" creationId="{4B3B7FC5-9BE3-9BDE-5033-A2D541C7169F}"/>
          </ac:spMkLst>
        </pc:spChg>
        <pc:spChg chg="add del mod modVis">
          <ac:chgData name="Carroll, Tyler" userId="69b673a0-6af4-4d8a-830b-550d1bbab5f8" providerId="ADAL" clId="{FA54304C-E424-4A4A-81D9-ABDA7518D7DD}" dt="2023-01-03T17:21:57.869" v="1112"/>
          <ac:spMkLst>
            <pc:docMk/>
            <pc:sldMk cId="2189048672" sldId="2147376919"/>
            <ac:spMk id="13" creationId="{5FD3AD7A-1FBD-D3E5-948F-BA34DF5F54A3}"/>
          </ac:spMkLst>
        </pc:spChg>
        <pc:spChg chg="add del mod modVis">
          <ac:chgData name="Carroll, Tyler" userId="69b673a0-6af4-4d8a-830b-550d1bbab5f8" providerId="ADAL" clId="{FA54304C-E424-4A4A-81D9-ABDA7518D7DD}" dt="2023-01-03T17:22:01.936" v="1157"/>
          <ac:spMkLst>
            <pc:docMk/>
            <pc:sldMk cId="2189048672" sldId="2147376919"/>
            <ac:spMk id="14" creationId="{00CB041C-BB46-873E-34E1-EEED04C81D60}"/>
          </ac:spMkLst>
        </pc:spChg>
        <pc:spChg chg="add del mod ord">
          <ac:chgData name="Carroll, Tyler" userId="69b673a0-6af4-4d8a-830b-550d1bbab5f8" providerId="ADAL" clId="{FA54304C-E424-4A4A-81D9-ABDA7518D7DD}" dt="2023-01-03T17:32:19.242" v="3054" actId="700"/>
          <ac:spMkLst>
            <pc:docMk/>
            <pc:sldMk cId="2189048672" sldId="2147376919"/>
            <ac:spMk id="15" creationId="{B78C67FA-CBC7-1749-BF7F-FF17C69ADC74}"/>
          </ac:spMkLst>
        </pc:spChg>
        <pc:spChg chg="add del mod ord">
          <ac:chgData name="Carroll, Tyler" userId="69b673a0-6af4-4d8a-830b-550d1bbab5f8" providerId="ADAL" clId="{FA54304C-E424-4A4A-81D9-ABDA7518D7DD}" dt="2023-01-03T17:32:19.242" v="3054" actId="700"/>
          <ac:spMkLst>
            <pc:docMk/>
            <pc:sldMk cId="2189048672" sldId="2147376919"/>
            <ac:spMk id="16" creationId="{0C021B23-639D-6E59-2FB2-8FE735D70FCA}"/>
          </ac:spMkLst>
        </pc:spChg>
        <pc:spChg chg="del mod">
          <ac:chgData name="Carroll, Tyler" userId="69b673a0-6af4-4d8a-830b-550d1bbab5f8" providerId="ADAL" clId="{FA54304C-E424-4A4A-81D9-ABDA7518D7DD}" dt="2023-01-03T17:19:33.574" v="806" actId="478"/>
          <ac:spMkLst>
            <pc:docMk/>
            <pc:sldMk cId="2189048672" sldId="2147376919"/>
            <ac:spMk id="17" creationId="{E46960AA-7173-5FAA-964E-3E06AA69FACB}"/>
          </ac:spMkLst>
        </pc:spChg>
        <pc:spChg chg="del">
          <ac:chgData name="Carroll, Tyler" userId="69b673a0-6af4-4d8a-830b-550d1bbab5f8" providerId="ADAL" clId="{FA54304C-E424-4A4A-81D9-ABDA7518D7DD}" dt="2023-01-03T17:18:12.319" v="784" actId="478"/>
          <ac:spMkLst>
            <pc:docMk/>
            <pc:sldMk cId="2189048672" sldId="2147376919"/>
            <ac:spMk id="18" creationId="{B6212B0A-95A9-11EC-0CC2-83EA51C17039}"/>
          </ac:spMkLst>
        </pc:spChg>
        <pc:spChg chg="add del mod modVis">
          <ac:chgData name="Carroll, Tyler" userId="69b673a0-6af4-4d8a-830b-550d1bbab5f8" providerId="ADAL" clId="{FA54304C-E424-4A4A-81D9-ABDA7518D7DD}" dt="2023-01-03T17:22:09.288" v="1202"/>
          <ac:spMkLst>
            <pc:docMk/>
            <pc:sldMk cId="2189048672" sldId="2147376919"/>
            <ac:spMk id="20" creationId="{DCF870D3-92A9-F48A-2BE7-5E628441E7CC}"/>
          </ac:spMkLst>
        </pc:spChg>
        <pc:spChg chg="add del mod modVis">
          <ac:chgData name="Carroll, Tyler" userId="69b673a0-6af4-4d8a-830b-550d1bbab5f8" providerId="ADAL" clId="{FA54304C-E424-4A4A-81D9-ABDA7518D7DD}" dt="2023-01-03T17:22:12.449" v="1247"/>
          <ac:spMkLst>
            <pc:docMk/>
            <pc:sldMk cId="2189048672" sldId="2147376919"/>
            <ac:spMk id="21" creationId="{6ABA13CA-387F-9EB7-4C83-969C1CCFEF54}"/>
          </ac:spMkLst>
        </pc:spChg>
        <pc:spChg chg="add del mod modVis">
          <ac:chgData name="Carroll, Tyler" userId="69b673a0-6af4-4d8a-830b-550d1bbab5f8" providerId="ADAL" clId="{FA54304C-E424-4A4A-81D9-ABDA7518D7DD}" dt="2023-01-03T17:22:13.174" v="1292"/>
          <ac:spMkLst>
            <pc:docMk/>
            <pc:sldMk cId="2189048672" sldId="2147376919"/>
            <ac:spMk id="22" creationId="{25375C0B-0FB3-59F0-AEF8-510E10AFFE02}"/>
          </ac:spMkLst>
        </pc:spChg>
        <pc:spChg chg="add del mod modVis">
          <ac:chgData name="Carroll, Tyler" userId="69b673a0-6af4-4d8a-830b-550d1bbab5f8" providerId="ADAL" clId="{FA54304C-E424-4A4A-81D9-ABDA7518D7DD}" dt="2023-01-03T17:23:16.166" v="1358"/>
          <ac:spMkLst>
            <pc:docMk/>
            <pc:sldMk cId="2189048672" sldId="2147376919"/>
            <ac:spMk id="26" creationId="{7006D856-14AF-0B26-B46A-3FC57FA6F8B3}"/>
          </ac:spMkLst>
        </pc:spChg>
        <pc:spChg chg="add del mod modVis">
          <ac:chgData name="Carroll, Tyler" userId="69b673a0-6af4-4d8a-830b-550d1bbab5f8" providerId="ADAL" clId="{FA54304C-E424-4A4A-81D9-ABDA7518D7DD}" dt="2023-01-03T17:23:19.218" v="1403"/>
          <ac:spMkLst>
            <pc:docMk/>
            <pc:sldMk cId="2189048672" sldId="2147376919"/>
            <ac:spMk id="27" creationId="{0CD6207B-858C-E30F-5F55-DFC9B7826CDD}"/>
          </ac:spMkLst>
        </pc:spChg>
        <pc:spChg chg="add del mod modVis">
          <ac:chgData name="Carroll, Tyler" userId="69b673a0-6af4-4d8a-830b-550d1bbab5f8" providerId="ADAL" clId="{FA54304C-E424-4A4A-81D9-ABDA7518D7DD}" dt="2023-01-03T17:23:30.186" v="1489" actId="962"/>
          <ac:spMkLst>
            <pc:docMk/>
            <pc:sldMk cId="2189048672" sldId="2147376919"/>
            <ac:spMk id="28" creationId="{FC0F66E0-47C1-764C-93E6-D69F8432C3B8}"/>
          </ac:spMkLst>
        </pc:spChg>
        <pc:spChg chg="add del mod modVis">
          <ac:chgData name="Carroll, Tyler" userId="69b673a0-6af4-4d8a-830b-550d1bbab5f8" providerId="ADAL" clId="{FA54304C-E424-4A4A-81D9-ABDA7518D7DD}" dt="2023-01-03T17:23:41.721" v="1536"/>
          <ac:spMkLst>
            <pc:docMk/>
            <pc:sldMk cId="2189048672" sldId="2147376919"/>
            <ac:spMk id="29" creationId="{23DEEA7C-5FCF-38F7-797E-4E5C05D218C5}"/>
          </ac:spMkLst>
        </pc:spChg>
        <pc:spChg chg="add del mod modVis">
          <ac:chgData name="Carroll, Tyler" userId="69b673a0-6af4-4d8a-830b-550d1bbab5f8" providerId="ADAL" clId="{FA54304C-E424-4A4A-81D9-ABDA7518D7DD}" dt="2023-01-03T17:23:57.726" v="1581"/>
          <ac:spMkLst>
            <pc:docMk/>
            <pc:sldMk cId="2189048672" sldId="2147376919"/>
            <ac:spMk id="30" creationId="{B2FD28E9-C971-8319-2494-510FFC622CC2}"/>
          </ac:spMkLst>
        </pc:spChg>
        <pc:spChg chg="add del mod modVis">
          <ac:chgData name="Carroll, Tyler" userId="69b673a0-6af4-4d8a-830b-550d1bbab5f8" providerId="ADAL" clId="{FA54304C-E424-4A4A-81D9-ABDA7518D7DD}" dt="2023-01-03T17:24:15.382" v="1639"/>
          <ac:spMkLst>
            <pc:docMk/>
            <pc:sldMk cId="2189048672" sldId="2147376919"/>
            <ac:spMk id="31" creationId="{EEBA54FE-8365-3308-16E4-1C9860327390}"/>
          </ac:spMkLst>
        </pc:spChg>
        <pc:spChg chg="add del mod">
          <ac:chgData name="Carroll, Tyler" userId="69b673a0-6af4-4d8a-830b-550d1bbab5f8" providerId="ADAL" clId="{FA54304C-E424-4A4A-81D9-ABDA7518D7DD}" dt="2023-01-03T17:25:30.631" v="1727" actId="478"/>
          <ac:spMkLst>
            <pc:docMk/>
            <pc:sldMk cId="2189048672" sldId="2147376919"/>
            <ac:spMk id="32" creationId="{B3AD9708-D12B-87AD-B268-DEC8C98B4517}"/>
          </ac:spMkLst>
        </pc:spChg>
        <pc:spChg chg="add del mod modVis">
          <ac:chgData name="Carroll, Tyler" userId="69b673a0-6af4-4d8a-830b-550d1bbab5f8" providerId="ADAL" clId="{FA54304C-E424-4A4A-81D9-ABDA7518D7DD}" dt="2023-01-03T17:24:57.959" v="1711"/>
          <ac:spMkLst>
            <pc:docMk/>
            <pc:sldMk cId="2189048672" sldId="2147376919"/>
            <ac:spMk id="33" creationId="{68B738D9-CC79-E957-B8F8-BCD9B89352AE}"/>
          </ac:spMkLst>
        </pc:spChg>
        <pc:spChg chg="add mod">
          <ac:chgData name="Carroll, Tyler" userId="69b673a0-6af4-4d8a-830b-550d1bbab5f8" providerId="ADAL" clId="{FA54304C-E424-4A4A-81D9-ABDA7518D7DD}" dt="2023-01-03T17:29:02.752" v="2164" actId="1036"/>
          <ac:spMkLst>
            <pc:docMk/>
            <pc:sldMk cId="2189048672" sldId="2147376919"/>
            <ac:spMk id="34" creationId="{12803A7B-6AA4-18BD-B125-37DC56557618}"/>
          </ac:spMkLst>
        </pc:spChg>
        <pc:spChg chg="add del mod modVis">
          <ac:chgData name="Carroll, Tyler" userId="69b673a0-6af4-4d8a-830b-550d1bbab5f8" providerId="ADAL" clId="{FA54304C-E424-4A4A-81D9-ABDA7518D7DD}" dt="2023-01-03T17:27:18.093" v="1857"/>
          <ac:spMkLst>
            <pc:docMk/>
            <pc:sldMk cId="2189048672" sldId="2147376919"/>
            <ac:spMk id="35" creationId="{AA7ECD7F-DB3A-64CB-FE11-6D5C974601A2}"/>
          </ac:spMkLst>
        </pc:spChg>
        <pc:spChg chg="add del mod modVis">
          <ac:chgData name="Carroll, Tyler" userId="69b673a0-6af4-4d8a-830b-550d1bbab5f8" providerId="ADAL" clId="{FA54304C-E424-4A4A-81D9-ABDA7518D7DD}" dt="2023-01-03T17:27:21.797" v="1902"/>
          <ac:spMkLst>
            <pc:docMk/>
            <pc:sldMk cId="2189048672" sldId="2147376919"/>
            <ac:spMk id="36" creationId="{71E6506A-529B-E86F-FB67-847DF0B0C5F6}"/>
          </ac:spMkLst>
        </pc:spChg>
        <pc:spChg chg="add del mod modVis">
          <ac:chgData name="Carroll, Tyler" userId="69b673a0-6af4-4d8a-830b-550d1bbab5f8" providerId="ADAL" clId="{FA54304C-E424-4A4A-81D9-ABDA7518D7DD}" dt="2023-01-03T17:27:27.998" v="1988" actId="962"/>
          <ac:spMkLst>
            <pc:docMk/>
            <pc:sldMk cId="2189048672" sldId="2147376919"/>
            <ac:spMk id="37" creationId="{AC9DD8CC-C0EE-83ED-C8B4-B59DAA4142E1}"/>
          </ac:spMkLst>
        </pc:spChg>
        <pc:spChg chg="add del mod modVis">
          <ac:chgData name="Carroll, Tyler" userId="69b673a0-6af4-4d8a-830b-550d1bbab5f8" providerId="ADAL" clId="{FA54304C-E424-4A4A-81D9-ABDA7518D7DD}" dt="2023-01-03T17:27:54.214" v="2035"/>
          <ac:spMkLst>
            <pc:docMk/>
            <pc:sldMk cId="2189048672" sldId="2147376919"/>
            <ac:spMk id="38" creationId="{5E2F593E-320D-6CD6-012D-E22BD52D70F5}"/>
          </ac:spMkLst>
        </pc:spChg>
        <pc:spChg chg="add del mod modVis">
          <ac:chgData name="Carroll, Tyler" userId="69b673a0-6af4-4d8a-830b-550d1bbab5f8" providerId="ADAL" clId="{FA54304C-E424-4A4A-81D9-ABDA7518D7DD}" dt="2023-01-03T17:28:04.591" v="2080"/>
          <ac:spMkLst>
            <pc:docMk/>
            <pc:sldMk cId="2189048672" sldId="2147376919"/>
            <ac:spMk id="39" creationId="{4DD95C57-8763-5B47-94D9-17F4332D2860}"/>
          </ac:spMkLst>
        </pc:spChg>
        <pc:spChg chg="add del mod modVis">
          <ac:chgData name="Carroll, Tyler" userId="69b673a0-6af4-4d8a-830b-550d1bbab5f8" providerId="ADAL" clId="{FA54304C-E424-4A4A-81D9-ABDA7518D7DD}" dt="2023-01-03T17:28:21.375" v="2142"/>
          <ac:spMkLst>
            <pc:docMk/>
            <pc:sldMk cId="2189048672" sldId="2147376919"/>
            <ac:spMk id="40" creationId="{1E3981DB-56A5-F20C-ADB6-D5B50AE54D52}"/>
          </ac:spMkLst>
        </pc:spChg>
        <pc:spChg chg="add del mod ord">
          <ac:chgData name="Carroll, Tyler" userId="69b673a0-6af4-4d8a-830b-550d1bbab5f8" providerId="ADAL" clId="{FA54304C-E424-4A4A-81D9-ABDA7518D7DD}" dt="2023-01-03T17:29:22.637" v="2179" actId="700"/>
          <ac:spMkLst>
            <pc:docMk/>
            <pc:sldMk cId="2189048672" sldId="2147376919"/>
            <ac:spMk id="41" creationId="{54A3954B-0FBB-19A5-D8A3-2FFA56041D64}"/>
          </ac:spMkLst>
        </pc:spChg>
        <pc:spChg chg="add del mod ord">
          <ac:chgData name="Carroll, Tyler" userId="69b673a0-6af4-4d8a-830b-550d1bbab5f8" providerId="ADAL" clId="{FA54304C-E424-4A4A-81D9-ABDA7518D7DD}" dt="2023-01-03T17:29:22.637" v="2179" actId="700"/>
          <ac:spMkLst>
            <pc:docMk/>
            <pc:sldMk cId="2189048672" sldId="2147376919"/>
            <ac:spMk id="42" creationId="{FD7F138E-2DFA-EF74-4D16-A3B4032EBBEF}"/>
          </ac:spMkLst>
        </pc:spChg>
        <pc:spChg chg="add del mod ord">
          <ac:chgData name="Carroll, Tyler" userId="69b673a0-6af4-4d8a-830b-550d1bbab5f8" providerId="ADAL" clId="{FA54304C-E424-4A4A-81D9-ABDA7518D7DD}" dt="2023-01-03T17:29:22.637" v="2179" actId="700"/>
          <ac:spMkLst>
            <pc:docMk/>
            <pc:sldMk cId="2189048672" sldId="2147376919"/>
            <ac:spMk id="43" creationId="{D3D1201A-3F46-9F4F-0768-1E6B6188EA43}"/>
          </ac:spMkLst>
        </pc:spChg>
        <pc:spChg chg="add del mod ord">
          <ac:chgData name="Carroll, Tyler" userId="69b673a0-6af4-4d8a-830b-550d1bbab5f8" providerId="ADAL" clId="{FA54304C-E424-4A4A-81D9-ABDA7518D7DD}" dt="2023-01-03T17:29:22.637" v="2179" actId="700"/>
          <ac:spMkLst>
            <pc:docMk/>
            <pc:sldMk cId="2189048672" sldId="2147376919"/>
            <ac:spMk id="44" creationId="{AE34978C-A1A6-9786-E32D-6FE64FBD5570}"/>
          </ac:spMkLst>
        </pc:spChg>
        <pc:spChg chg="add del mod modVis">
          <ac:chgData name="Carroll, Tyler" userId="69b673a0-6af4-4d8a-830b-550d1bbab5f8" providerId="ADAL" clId="{FA54304C-E424-4A4A-81D9-ABDA7518D7DD}" dt="2023-01-03T17:29:29.222" v="2224"/>
          <ac:spMkLst>
            <pc:docMk/>
            <pc:sldMk cId="2189048672" sldId="2147376919"/>
            <ac:spMk id="45" creationId="{F8B6FDC9-E894-D4AF-2D66-111E5AB82598}"/>
          </ac:spMkLst>
        </pc:spChg>
        <pc:spChg chg="add del mod modVis">
          <ac:chgData name="Carroll, Tyler" userId="69b673a0-6af4-4d8a-830b-550d1bbab5f8" providerId="ADAL" clId="{FA54304C-E424-4A4A-81D9-ABDA7518D7DD}" dt="2023-01-03T17:29:30.203" v="2269"/>
          <ac:spMkLst>
            <pc:docMk/>
            <pc:sldMk cId="2189048672" sldId="2147376919"/>
            <ac:spMk id="46" creationId="{6757D73F-1EC5-58A6-6F35-F6E7E3B10A8D}"/>
          </ac:spMkLst>
        </pc:spChg>
        <pc:spChg chg="add del mod modVis">
          <ac:chgData name="Carroll, Tyler" userId="69b673a0-6af4-4d8a-830b-550d1bbab5f8" providerId="ADAL" clId="{FA54304C-E424-4A4A-81D9-ABDA7518D7DD}" dt="2023-01-03T17:29:54.852" v="2904"/>
          <ac:spMkLst>
            <pc:docMk/>
            <pc:sldMk cId="2189048672" sldId="2147376919"/>
            <ac:spMk id="47" creationId="{A9BA73CC-2B3D-5937-33F5-BC347F208836}"/>
          </ac:spMkLst>
        </pc:spChg>
        <pc:spChg chg="add del mod ord">
          <ac:chgData name="Carroll, Tyler" userId="69b673a0-6af4-4d8a-830b-550d1bbab5f8" providerId="ADAL" clId="{FA54304C-E424-4A4A-81D9-ABDA7518D7DD}" dt="2023-01-03T17:30:47.462" v="2918" actId="700"/>
          <ac:spMkLst>
            <pc:docMk/>
            <pc:sldMk cId="2189048672" sldId="2147376919"/>
            <ac:spMk id="48" creationId="{D10F83C7-4B5E-02DA-C2BE-202B64570C94}"/>
          </ac:spMkLst>
        </pc:spChg>
        <pc:spChg chg="add del mod ord">
          <ac:chgData name="Carroll, Tyler" userId="69b673a0-6af4-4d8a-830b-550d1bbab5f8" providerId="ADAL" clId="{FA54304C-E424-4A4A-81D9-ABDA7518D7DD}" dt="2023-01-03T17:30:47.462" v="2918" actId="700"/>
          <ac:spMkLst>
            <pc:docMk/>
            <pc:sldMk cId="2189048672" sldId="2147376919"/>
            <ac:spMk id="49" creationId="{467EF608-EDA4-F790-0A47-19BA7BF8F477}"/>
          </ac:spMkLst>
        </pc:spChg>
        <pc:spChg chg="add del mod ord">
          <ac:chgData name="Carroll, Tyler" userId="69b673a0-6af4-4d8a-830b-550d1bbab5f8" providerId="ADAL" clId="{FA54304C-E424-4A4A-81D9-ABDA7518D7DD}" dt="2023-01-03T17:32:19.242" v="3054" actId="700"/>
          <ac:spMkLst>
            <pc:docMk/>
            <pc:sldMk cId="2189048672" sldId="2147376919"/>
            <ac:spMk id="50" creationId="{E39BFB7C-9ECB-AE1D-7458-99B7204F0409}"/>
          </ac:spMkLst>
        </pc:spChg>
        <pc:spChg chg="add del mod ord">
          <ac:chgData name="Carroll, Tyler" userId="69b673a0-6af4-4d8a-830b-550d1bbab5f8" providerId="ADAL" clId="{FA54304C-E424-4A4A-81D9-ABDA7518D7DD}" dt="2023-01-03T17:32:19.242" v="3054" actId="700"/>
          <ac:spMkLst>
            <pc:docMk/>
            <pc:sldMk cId="2189048672" sldId="2147376919"/>
            <ac:spMk id="51" creationId="{E9E68A8A-32B3-1167-3273-B52CA769D563}"/>
          </ac:spMkLst>
        </pc:spChg>
        <pc:spChg chg="add del mod modVis">
          <ac:chgData name="Carroll, Tyler" userId="69b673a0-6af4-4d8a-830b-550d1bbab5f8" providerId="ADAL" clId="{FA54304C-E424-4A4A-81D9-ABDA7518D7DD}" dt="2023-01-03T17:32:19.230" v="3052" actId="962"/>
          <ac:spMkLst>
            <pc:docMk/>
            <pc:sldMk cId="2189048672" sldId="2147376919"/>
            <ac:spMk id="52" creationId="{2ED43008-124B-0E10-D4A6-FCC37E9A5388}"/>
          </ac:spMkLst>
        </pc:spChg>
        <pc:spChg chg="add del mod">
          <ac:chgData name="Carroll, Tyler" userId="69b673a0-6af4-4d8a-830b-550d1bbab5f8" providerId="ADAL" clId="{FA54304C-E424-4A4A-81D9-ABDA7518D7DD}" dt="2023-01-03T17:32:17.975" v="3009" actId="478"/>
          <ac:spMkLst>
            <pc:docMk/>
            <pc:sldMk cId="2189048672" sldId="2147376919"/>
            <ac:spMk id="54" creationId="{5CC69BFE-CBA4-B193-90FA-AD391609E745}"/>
          </ac:spMkLst>
        </pc:spChg>
        <pc:spChg chg="add del mod">
          <ac:chgData name="Carroll, Tyler" userId="69b673a0-6af4-4d8a-830b-550d1bbab5f8" providerId="ADAL" clId="{FA54304C-E424-4A4A-81D9-ABDA7518D7DD}" dt="2023-01-03T17:32:13.588" v="2991" actId="767"/>
          <ac:spMkLst>
            <pc:docMk/>
            <pc:sldMk cId="2189048672" sldId="2147376919"/>
            <ac:spMk id="55" creationId="{AEE26026-AD4F-0ACB-8D05-B568D54B2BA6}"/>
          </ac:spMkLst>
        </pc:spChg>
        <pc:graphicFrameChg chg="mod">
          <ac:chgData name="Carroll, Tyler" userId="69b673a0-6af4-4d8a-830b-550d1bbab5f8" providerId="ADAL" clId="{FA54304C-E424-4A4A-81D9-ABDA7518D7DD}" dt="2023-01-03T17:32:19.243" v="3056"/>
          <ac:graphicFrameMkLst>
            <pc:docMk/>
            <pc:sldMk cId="2189048672" sldId="2147376919"/>
            <ac:graphicFrameMk id="19" creationId="{F0546E54-0B83-D8F6-623B-E1C158DBD3C6}"/>
          </ac:graphicFrameMkLst>
        </pc:graphicFrameChg>
        <pc:picChg chg="del">
          <ac:chgData name="Carroll, Tyler" userId="69b673a0-6af4-4d8a-830b-550d1bbab5f8" providerId="ADAL" clId="{FA54304C-E424-4A4A-81D9-ABDA7518D7DD}" dt="2023-01-03T17:21:28.733" v="928" actId="478"/>
          <ac:picMkLst>
            <pc:docMk/>
            <pc:sldMk cId="2189048672" sldId="2147376919"/>
            <ac:picMk id="7" creationId="{4E01CED8-AC07-7F52-986A-A200DA354196}"/>
          </ac:picMkLst>
        </pc:picChg>
        <pc:cxnChg chg="add mod">
          <ac:chgData name="Carroll, Tyler" userId="69b673a0-6af4-4d8a-830b-550d1bbab5f8" providerId="ADAL" clId="{FA54304C-E424-4A4A-81D9-ABDA7518D7DD}" dt="2023-01-03T17:28:26.102" v="2150" actId="1035"/>
          <ac:cxnSpMkLst>
            <pc:docMk/>
            <pc:sldMk cId="2189048672" sldId="2147376919"/>
            <ac:cxnSpMk id="24" creationId="{FFBF2AD6-CFEC-F103-1A33-AF56FD87D34A}"/>
          </ac:cxnSpMkLst>
        </pc:cxnChg>
        <pc:cxnChg chg="add mod">
          <ac:chgData name="Carroll, Tyler" userId="69b673a0-6af4-4d8a-830b-550d1bbab5f8" providerId="ADAL" clId="{FA54304C-E424-4A4A-81D9-ABDA7518D7DD}" dt="2023-01-03T17:28:28.567" v="2154" actId="1036"/>
          <ac:cxnSpMkLst>
            <pc:docMk/>
            <pc:sldMk cId="2189048672" sldId="2147376919"/>
            <ac:cxnSpMk id="25" creationId="{E4B7990E-9015-87F9-408E-A578B56C6656}"/>
          </ac:cxnSpMkLst>
        </pc:cxnChg>
      </pc:sldChg>
      <pc:sldChg chg="del">
        <pc:chgData name="Carroll, Tyler" userId="69b673a0-6af4-4d8a-830b-550d1bbab5f8" providerId="ADAL" clId="{FA54304C-E424-4A4A-81D9-ABDA7518D7DD}" dt="2023-01-03T17:49:56.799" v="3398" actId="47"/>
        <pc:sldMkLst>
          <pc:docMk/>
          <pc:sldMk cId="1519441707" sldId="2147377120"/>
        </pc:sldMkLst>
      </pc:sldChg>
      <pc:sldChg chg="addSp delSp modSp del mod">
        <pc:chgData name="Carroll, Tyler" userId="69b673a0-6af4-4d8a-830b-550d1bbab5f8" providerId="ADAL" clId="{FA54304C-E424-4A4A-81D9-ABDA7518D7DD}" dt="2023-01-03T17:49:56.799" v="3398" actId="47"/>
        <pc:sldMkLst>
          <pc:docMk/>
          <pc:sldMk cId="3776209312" sldId="2147377121"/>
        </pc:sldMkLst>
        <pc:spChg chg="mod">
          <ac:chgData name="Carroll, Tyler" userId="69b673a0-6af4-4d8a-830b-550d1bbab5f8" providerId="ADAL" clId="{FA54304C-E424-4A4A-81D9-ABDA7518D7DD}" dt="2023-01-03T17:29:54.734" v="2731" actId="948"/>
          <ac:spMkLst>
            <pc:docMk/>
            <pc:sldMk cId="3776209312" sldId="2147377121"/>
            <ac:spMk id="3" creationId="{98A7FF60-63D7-46A3-B148-F8BA20087FE5}"/>
          </ac:spMkLst>
        </pc:spChg>
        <pc:spChg chg="mod">
          <ac:chgData name="Carroll, Tyler" userId="69b673a0-6af4-4d8a-830b-550d1bbab5f8" providerId="ADAL" clId="{FA54304C-E424-4A4A-81D9-ABDA7518D7DD}" dt="2023-01-03T17:29:53.791" v="2274"/>
          <ac:spMkLst>
            <pc:docMk/>
            <pc:sldMk cId="3776209312" sldId="2147377121"/>
            <ac:spMk id="5" creationId="{3F5693F2-5705-4513-9A8C-8F612E7CD72E}"/>
          </ac:spMkLst>
        </pc:spChg>
        <pc:spChg chg="add del mod modVis">
          <ac:chgData name="Carroll, Tyler" userId="69b673a0-6af4-4d8a-830b-550d1bbab5f8" providerId="ADAL" clId="{FA54304C-E424-4A4A-81D9-ABDA7518D7DD}" dt="2023-01-03T17:29:54.846" v="2896"/>
          <ac:spMkLst>
            <pc:docMk/>
            <pc:sldMk cId="3776209312" sldId="2147377121"/>
            <ac:spMk id="7" creationId="{395E1F6F-59FE-1A72-1786-2ED7EBA80B3F}"/>
          </ac:spMkLst>
        </pc:spChg>
        <pc:graphicFrameChg chg="mod">
          <ac:chgData name="Carroll, Tyler" userId="69b673a0-6af4-4d8a-830b-550d1bbab5f8" providerId="ADAL" clId="{FA54304C-E424-4A4A-81D9-ABDA7518D7DD}" dt="2023-01-03T17:29:54.848" v="2898"/>
          <ac:graphicFrameMkLst>
            <pc:docMk/>
            <pc:sldMk cId="3776209312" sldId="2147377121"/>
            <ac:graphicFrameMk id="8" creationId="{AFB37155-22B7-4716-3DBD-D71E6C384456}"/>
          </ac:graphicFrameMkLst>
        </pc:graphicFrameChg>
      </pc:sldChg>
      <pc:sldChg chg="del">
        <pc:chgData name="Carroll, Tyler" userId="69b673a0-6af4-4d8a-830b-550d1bbab5f8" providerId="ADAL" clId="{FA54304C-E424-4A4A-81D9-ABDA7518D7DD}" dt="2023-01-03T17:49:56.799" v="3398" actId="47"/>
        <pc:sldMkLst>
          <pc:docMk/>
          <pc:sldMk cId="544977822" sldId="2147377124"/>
        </pc:sldMkLst>
      </pc:sldChg>
      <pc:sldChg chg="addSp delSp modSp mod">
        <pc:chgData name="Carroll, Tyler" userId="69b673a0-6af4-4d8a-830b-550d1bbab5f8" providerId="ADAL" clId="{FA54304C-E424-4A4A-81D9-ABDA7518D7DD}" dt="2023-01-04T18:09:44.711" v="11861" actId="2711"/>
        <pc:sldMkLst>
          <pc:docMk/>
          <pc:sldMk cId="356427099" sldId="2147377125"/>
        </pc:sldMkLst>
        <pc:spChg chg="add del mod modVis">
          <ac:chgData name="Carroll, Tyler" userId="69b673a0-6af4-4d8a-830b-550d1bbab5f8" providerId="ADAL" clId="{FA54304C-E424-4A4A-81D9-ABDA7518D7DD}" dt="2023-01-03T22:15:56.629" v="10710"/>
          <ac:spMkLst>
            <pc:docMk/>
            <pc:sldMk cId="356427099" sldId="2147377125"/>
            <ac:spMk id="2" creationId="{85E2FDD4-F543-0CDA-B218-8F7AD2D92359}"/>
          </ac:spMkLst>
        </pc:spChg>
        <pc:spChg chg="mod">
          <ac:chgData name="Carroll, Tyler" userId="69b673a0-6af4-4d8a-830b-550d1bbab5f8" providerId="ADAL" clId="{FA54304C-E424-4A4A-81D9-ABDA7518D7DD}" dt="2023-01-04T18:09:44.711" v="11861" actId="2711"/>
          <ac:spMkLst>
            <pc:docMk/>
            <pc:sldMk cId="356427099" sldId="2147377125"/>
            <ac:spMk id="3" creationId="{2A7F4E72-D080-6F74-D03F-D40E8EF020C5}"/>
          </ac:spMkLst>
        </pc:spChg>
        <pc:spChg chg="add del mod modVis">
          <ac:chgData name="Carroll, Tyler" userId="69b673a0-6af4-4d8a-830b-550d1bbab5f8" providerId="ADAL" clId="{FA54304C-E424-4A4A-81D9-ABDA7518D7DD}" dt="2023-01-03T22:15:59.040" v="10755"/>
          <ac:spMkLst>
            <pc:docMk/>
            <pc:sldMk cId="356427099" sldId="2147377125"/>
            <ac:spMk id="5" creationId="{B226941D-805E-318B-73A0-9C64FCE1C7FE}"/>
          </ac:spMkLst>
        </pc:spChg>
        <pc:spChg chg="add del mod modVis">
          <ac:chgData name="Carroll, Tyler" userId="69b673a0-6af4-4d8a-830b-550d1bbab5f8" providerId="ADAL" clId="{FA54304C-E424-4A4A-81D9-ABDA7518D7DD}" dt="2023-01-03T22:15:59.872" v="10809"/>
          <ac:spMkLst>
            <pc:docMk/>
            <pc:sldMk cId="356427099" sldId="2147377125"/>
            <ac:spMk id="6" creationId="{CD695147-B15A-F872-577A-394BD0FE6299}"/>
          </ac:spMkLst>
        </pc:spChg>
        <pc:spChg chg="mod">
          <ac:chgData name="Carroll, Tyler" userId="69b673a0-6af4-4d8a-830b-550d1bbab5f8" providerId="ADAL" clId="{FA54304C-E424-4A4A-81D9-ABDA7518D7DD}" dt="2023-01-03T22:15:59.836" v="10768" actId="948"/>
          <ac:spMkLst>
            <pc:docMk/>
            <pc:sldMk cId="356427099" sldId="2147377125"/>
            <ac:spMk id="8" creationId="{00000000-0000-0000-0000-000000000000}"/>
          </ac:spMkLst>
        </pc:spChg>
        <pc:graphicFrameChg chg="modGraphic">
          <ac:chgData name="Carroll, Tyler" userId="69b673a0-6af4-4d8a-830b-550d1bbab5f8" providerId="ADAL" clId="{FA54304C-E424-4A4A-81D9-ABDA7518D7DD}" dt="2023-01-03T16:58:52.851" v="23" actId="207"/>
          <ac:graphicFrameMkLst>
            <pc:docMk/>
            <pc:sldMk cId="356427099" sldId="2147377125"/>
            <ac:graphicFrameMk id="4" creationId="{94BCBC64-0333-37F8-125B-E8308A458514}"/>
          </ac:graphicFrameMkLst>
        </pc:graphicFrameChg>
        <pc:graphicFrameChg chg="mod">
          <ac:chgData name="Carroll, Tyler" userId="69b673a0-6af4-4d8a-830b-550d1bbab5f8" providerId="ADAL" clId="{FA54304C-E424-4A4A-81D9-ABDA7518D7DD}" dt="2023-01-03T22:15:59.874" v="10811"/>
          <ac:graphicFrameMkLst>
            <pc:docMk/>
            <pc:sldMk cId="356427099" sldId="2147377125"/>
            <ac:graphicFrameMk id="11" creationId="{00000000-0000-0000-0000-000000000000}"/>
          </ac:graphicFrameMkLst>
        </pc:graphicFrameChg>
        <pc:picChg chg="del">
          <ac:chgData name="Carroll, Tyler" userId="69b673a0-6af4-4d8a-830b-550d1bbab5f8" providerId="ADAL" clId="{FA54304C-E424-4A4A-81D9-ABDA7518D7DD}" dt="2023-01-03T17:54:34.553" v="3537" actId="478"/>
          <ac:picMkLst>
            <pc:docMk/>
            <pc:sldMk cId="356427099" sldId="2147377125"/>
            <ac:picMk id="2" creationId="{CFABF650-10E7-3CE9-6EA3-463F11A35CC5}"/>
          </ac:picMkLst>
        </pc:picChg>
      </pc:sldChg>
      <pc:sldChg chg="addSp delSp modSp del mod">
        <pc:chgData name="Carroll, Tyler" userId="69b673a0-6af4-4d8a-830b-550d1bbab5f8" providerId="ADAL" clId="{FA54304C-E424-4A4A-81D9-ABDA7518D7DD}" dt="2023-01-03T17:49:56.799" v="3398" actId="47"/>
        <pc:sldMkLst>
          <pc:docMk/>
          <pc:sldMk cId="149741293" sldId="2147377135"/>
        </pc:sldMkLst>
        <pc:spChg chg="mod">
          <ac:chgData name="Carroll, Tyler" userId="69b673a0-6af4-4d8a-830b-550d1bbab5f8" providerId="ADAL" clId="{FA54304C-E424-4A4A-81D9-ABDA7518D7DD}" dt="2023-01-03T17:29:54.496" v="2427" actId="948"/>
          <ac:spMkLst>
            <pc:docMk/>
            <pc:sldMk cId="149741293" sldId="2147377135"/>
            <ac:spMk id="2" creationId="{00000000-0000-0000-0000-000000000000}"/>
          </ac:spMkLst>
        </pc:spChg>
        <pc:spChg chg="add del mod modVis">
          <ac:chgData name="Carroll, Tyler" userId="69b673a0-6af4-4d8a-830b-550d1bbab5f8" providerId="ADAL" clId="{FA54304C-E424-4A4A-81D9-ABDA7518D7DD}" dt="2023-01-03T17:29:54.822" v="2864"/>
          <ac:spMkLst>
            <pc:docMk/>
            <pc:sldMk cId="149741293" sldId="2147377135"/>
            <ac:spMk id="3" creationId="{BF5CD07F-1ECF-7226-3B41-3483EAB0475E}"/>
          </ac:spMkLst>
        </pc:spChg>
        <pc:spChg chg="mod">
          <ac:chgData name="Carroll, Tyler" userId="69b673a0-6af4-4d8a-830b-550d1bbab5f8" providerId="ADAL" clId="{FA54304C-E424-4A4A-81D9-ABDA7518D7DD}" dt="2023-01-03T17:29:53.791" v="2274"/>
          <ac:spMkLst>
            <pc:docMk/>
            <pc:sldMk cId="149741293" sldId="2147377135"/>
            <ac:spMk id="6" creationId="{00000000-0000-0000-0000-000000000000}"/>
          </ac:spMkLst>
        </pc:spChg>
        <pc:graphicFrameChg chg="mod">
          <ac:chgData name="Carroll, Tyler" userId="69b673a0-6af4-4d8a-830b-550d1bbab5f8" providerId="ADAL" clId="{FA54304C-E424-4A4A-81D9-ABDA7518D7DD}" dt="2023-01-03T17:29:54.824" v="2866"/>
          <ac:graphicFrameMkLst>
            <pc:docMk/>
            <pc:sldMk cId="149741293" sldId="2147377135"/>
            <ac:graphicFrameMk id="13" creationId="{6F63A89F-3657-F4B0-6FA3-F52EECB39407}"/>
          </ac:graphicFrameMkLst>
        </pc:graphicFrameChg>
      </pc:sldChg>
      <pc:sldChg chg="addSp delSp modSp del mod">
        <pc:chgData name="Carroll, Tyler" userId="69b673a0-6af4-4d8a-830b-550d1bbab5f8" providerId="ADAL" clId="{FA54304C-E424-4A4A-81D9-ABDA7518D7DD}" dt="2023-01-05T04:14:42.391" v="13063" actId="47"/>
        <pc:sldMkLst>
          <pc:docMk/>
          <pc:sldMk cId="1480409991" sldId="2147377136"/>
        </pc:sldMkLst>
        <pc:spChg chg="mod">
          <ac:chgData name="Carroll, Tyler" userId="69b673a0-6af4-4d8a-830b-550d1bbab5f8" providerId="ADAL" clId="{FA54304C-E424-4A4A-81D9-ABDA7518D7DD}" dt="2023-01-03T22:14:11.609" v="10149" actId="948"/>
          <ac:spMkLst>
            <pc:docMk/>
            <pc:sldMk cId="1480409991" sldId="2147377136"/>
            <ac:spMk id="2" creationId="{00000000-0000-0000-0000-000000000000}"/>
          </ac:spMkLst>
        </pc:spChg>
        <pc:spChg chg="add del mod modVis">
          <ac:chgData name="Carroll, Tyler" userId="69b673a0-6af4-4d8a-830b-550d1bbab5f8" providerId="ADAL" clId="{FA54304C-E424-4A4A-81D9-ABDA7518D7DD}" dt="2023-01-03T22:14:06.143" v="10100"/>
          <ac:spMkLst>
            <pc:docMk/>
            <pc:sldMk cId="1480409991" sldId="2147377136"/>
            <ac:spMk id="3" creationId="{91A245D3-A280-1347-B51F-DAFE0A3DDA82}"/>
          </ac:spMkLst>
        </pc:spChg>
        <pc:spChg chg="add del mod modVis">
          <ac:chgData name="Carroll, Tyler" userId="69b673a0-6af4-4d8a-830b-550d1bbab5f8" providerId="ADAL" clId="{FA54304C-E424-4A4A-81D9-ABDA7518D7DD}" dt="2023-01-03T17:29:54.841" v="2888"/>
          <ac:spMkLst>
            <pc:docMk/>
            <pc:sldMk cId="1480409991" sldId="2147377136"/>
            <ac:spMk id="3" creationId="{C0FCE307-6737-123F-4337-6B87DCEE4A4C}"/>
          </ac:spMkLst>
        </pc:spChg>
        <pc:spChg chg="mod">
          <ac:chgData name="Carroll, Tyler" userId="69b673a0-6af4-4d8a-830b-550d1bbab5f8" providerId="ADAL" clId="{FA54304C-E424-4A4A-81D9-ABDA7518D7DD}" dt="2023-01-04T18:00:37.519" v="11824" actId="1076"/>
          <ac:spMkLst>
            <pc:docMk/>
            <pc:sldMk cId="1480409991" sldId="2147377136"/>
            <ac:spMk id="4" creationId="{00000000-0000-0000-0000-000000000000}"/>
          </ac:spMkLst>
        </pc:spChg>
        <pc:spChg chg="mod">
          <ac:chgData name="Carroll, Tyler" userId="69b673a0-6af4-4d8a-830b-550d1bbab5f8" providerId="ADAL" clId="{FA54304C-E424-4A4A-81D9-ABDA7518D7DD}" dt="2023-01-04T18:09:14.512" v="11856" actId="2711"/>
          <ac:spMkLst>
            <pc:docMk/>
            <pc:sldMk cId="1480409991" sldId="2147377136"/>
            <ac:spMk id="6" creationId="{00000000-0000-0000-0000-000000000000}"/>
          </ac:spMkLst>
        </pc:spChg>
        <pc:spChg chg="add del mod modVis">
          <ac:chgData name="Carroll, Tyler" userId="69b673a0-6af4-4d8a-830b-550d1bbab5f8" providerId="ADAL" clId="{FA54304C-E424-4A4A-81D9-ABDA7518D7DD}" dt="2023-01-03T22:14:07.579" v="10145"/>
          <ac:spMkLst>
            <pc:docMk/>
            <pc:sldMk cId="1480409991" sldId="2147377136"/>
            <ac:spMk id="10" creationId="{6D1F6B6B-70A9-5BFD-9DA4-D5845AF747C4}"/>
          </ac:spMkLst>
        </pc:spChg>
        <pc:spChg chg="add del mod modVis">
          <ac:chgData name="Carroll, Tyler" userId="69b673a0-6af4-4d8a-830b-550d1bbab5f8" providerId="ADAL" clId="{FA54304C-E424-4A4A-81D9-ABDA7518D7DD}" dt="2023-01-03T22:14:11.658" v="10190"/>
          <ac:spMkLst>
            <pc:docMk/>
            <pc:sldMk cId="1480409991" sldId="2147377136"/>
            <ac:spMk id="11" creationId="{5A93CD9D-4DF5-B1ED-1850-EBA73193B51D}"/>
          </ac:spMkLst>
        </pc:spChg>
        <pc:graphicFrameChg chg="mod">
          <ac:chgData name="Carroll, Tyler" userId="69b673a0-6af4-4d8a-830b-550d1bbab5f8" providerId="ADAL" clId="{FA54304C-E424-4A4A-81D9-ABDA7518D7DD}" dt="2023-01-03T22:14:11.660" v="10192"/>
          <ac:graphicFrameMkLst>
            <pc:docMk/>
            <pc:sldMk cId="1480409991" sldId="2147377136"/>
            <ac:graphicFrameMk id="13" creationId="{6F63A89F-3657-F4B0-6FA3-F52EECB39407}"/>
          </ac:graphicFrameMkLst>
        </pc:graphicFrameChg>
        <pc:picChg chg="del">
          <ac:chgData name="Carroll, Tyler" userId="69b673a0-6af4-4d8a-830b-550d1bbab5f8" providerId="ADAL" clId="{FA54304C-E424-4A4A-81D9-ABDA7518D7DD}" dt="2023-01-03T17:54:23.718" v="3533" actId="478"/>
          <ac:picMkLst>
            <pc:docMk/>
            <pc:sldMk cId="1480409991" sldId="2147377136"/>
            <ac:picMk id="15" creationId="{63838A07-8330-2704-F315-18B964E139BF}"/>
          </ac:picMkLst>
        </pc:picChg>
      </pc:sldChg>
      <pc:sldChg chg="addSp delSp modSp mod">
        <pc:chgData name="Carroll, Tyler" userId="69b673a0-6af4-4d8a-830b-550d1bbab5f8" providerId="ADAL" clId="{FA54304C-E424-4A4A-81D9-ABDA7518D7DD}" dt="2023-01-04T18:09:20.553" v="11857" actId="2711"/>
        <pc:sldMkLst>
          <pc:docMk/>
          <pc:sldMk cId="3710413369" sldId="2147377137"/>
        </pc:sldMkLst>
        <pc:spChg chg="mod">
          <ac:chgData name="Carroll, Tyler" userId="69b673a0-6af4-4d8a-830b-550d1bbab5f8" providerId="ADAL" clId="{FA54304C-E424-4A4A-81D9-ABDA7518D7DD}" dt="2023-01-03T22:14:21.113" v="10293" actId="948"/>
          <ac:spMkLst>
            <pc:docMk/>
            <pc:sldMk cId="3710413369" sldId="2147377137"/>
            <ac:spMk id="2" creationId="{00000000-0000-0000-0000-000000000000}"/>
          </ac:spMkLst>
        </pc:spChg>
        <pc:spChg chg="add del mod modVis">
          <ac:chgData name="Carroll, Tyler" userId="69b673a0-6af4-4d8a-830b-550d1bbab5f8" providerId="ADAL" clId="{FA54304C-E424-4A4A-81D9-ABDA7518D7DD}" dt="2023-01-03T17:29:54.838" v="2884"/>
          <ac:spMkLst>
            <pc:docMk/>
            <pc:sldMk cId="3710413369" sldId="2147377137"/>
            <ac:spMk id="3" creationId="{92BE123F-2D14-E6EA-75D5-37FAC85E195E}"/>
          </ac:spMkLst>
        </pc:spChg>
        <pc:spChg chg="add del mod modVis">
          <ac:chgData name="Carroll, Tyler" userId="69b673a0-6af4-4d8a-830b-550d1bbab5f8" providerId="ADAL" clId="{FA54304C-E424-4A4A-81D9-ABDA7518D7DD}" dt="2023-01-03T22:14:18.086" v="10235"/>
          <ac:spMkLst>
            <pc:docMk/>
            <pc:sldMk cId="3710413369" sldId="2147377137"/>
            <ac:spMk id="3" creationId="{F5149CEA-2A6B-9268-CBA7-9C03E2D2DAFC}"/>
          </ac:spMkLst>
        </pc:spChg>
        <pc:spChg chg="add del mod modVis">
          <ac:chgData name="Carroll, Tyler" userId="69b673a0-6af4-4d8a-830b-550d1bbab5f8" providerId="ADAL" clId="{FA54304C-E424-4A4A-81D9-ABDA7518D7DD}" dt="2023-01-03T22:14:20.345" v="10280"/>
          <ac:spMkLst>
            <pc:docMk/>
            <pc:sldMk cId="3710413369" sldId="2147377137"/>
            <ac:spMk id="5" creationId="{06468A19-FB4B-E6D1-27F7-7F7C3C4B981B}"/>
          </ac:spMkLst>
        </pc:spChg>
        <pc:spChg chg="mod">
          <ac:chgData name="Carroll, Tyler" userId="69b673a0-6af4-4d8a-830b-550d1bbab5f8" providerId="ADAL" clId="{FA54304C-E424-4A4A-81D9-ABDA7518D7DD}" dt="2023-01-04T18:09:20.553" v="11857" actId="2711"/>
          <ac:spMkLst>
            <pc:docMk/>
            <pc:sldMk cId="3710413369" sldId="2147377137"/>
            <ac:spMk id="6" creationId="{00000000-0000-0000-0000-000000000000}"/>
          </ac:spMkLst>
        </pc:spChg>
        <pc:spChg chg="add del mod modVis">
          <ac:chgData name="Carroll, Tyler" userId="69b673a0-6af4-4d8a-830b-550d1bbab5f8" providerId="ADAL" clId="{FA54304C-E424-4A4A-81D9-ABDA7518D7DD}" dt="2023-01-03T22:14:21.150" v="10334"/>
          <ac:spMkLst>
            <pc:docMk/>
            <pc:sldMk cId="3710413369" sldId="2147377137"/>
            <ac:spMk id="7" creationId="{6D931AFF-84FE-306D-BBB1-A685AD99BAE8}"/>
          </ac:spMkLst>
        </pc:spChg>
        <pc:graphicFrameChg chg="mod">
          <ac:chgData name="Carroll, Tyler" userId="69b673a0-6af4-4d8a-830b-550d1bbab5f8" providerId="ADAL" clId="{FA54304C-E424-4A4A-81D9-ABDA7518D7DD}" dt="2023-01-03T22:14:21.152" v="10336"/>
          <ac:graphicFrameMkLst>
            <pc:docMk/>
            <pc:sldMk cId="3710413369" sldId="2147377137"/>
            <ac:graphicFrameMk id="13" creationId="{6F63A89F-3657-F4B0-6FA3-F52EECB39407}"/>
          </ac:graphicFrameMkLst>
        </pc:graphicFrameChg>
        <pc:picChg chg="del">
          <ac:chgData name="Carroll, Tyler" userId="69b673a0-6af4-4d8a-830b-550d1bbab5f8" providerId="ADAL" clId="{FA54304C-E424-4A4A-81D9-ABDA7518D7DD}" dt="2023-01-03T17:54:26.039" v="3534" actId="478"/>
          <ac:picMkLst>
            <pc:docMk/>
            <pc:sldMk cId="3710413369" sldId="2147377137"/>
            <ac:picMk id="16" creationId="{4615CB95-7BF5-46AE-0BD6-510EE0AD502E}"/>
          </ac:picMkLst>
        </pc:picChg>
      </pc:sldChg>
      <pc:sldChg chg="addSp delSp modSp mod">
        <pc:chgData name="Carroll, Tyler" userId="69b673a0-6af4-4d8a-830b-550d1bbab5f8" providerId="ADAL" clId="{FA54304C-E424-4A4A-81D9-ABDA7518D7DD}" dt="2023-01-04T18:09:25.958" v="11858" actId="2711"/>
        <pc:sldMkLst>
          <pc:docMk/>
          <pc:sldMk cId="2375811714" sldId="2147377138"/>
        </pc:sldMkLst>
        <pc:spChg chg="mod">
          <ac:chgData name="Carroll, Tyler" userId="69b673a0-6af4-4d8a-830b-550d1bbab5f8" providerId="ADAL" clId="{FA54304C-E424-4A4A-81D9-ABDA7518D7DD}" dt="2023-01-03T22:14:32.126" v="10383" actId="948"/>
          <ac:spMkLst>
            <pc:docMk/>
            <pc:sldMk cId="2375811714" sldId="2147377138"/>
            <ac:spMk id="2" creationId="{00000000-0000-0000-0000-000000000000}"/>
          </ac:spMkLst>
        </pc:spChg>
        <pc:spChg chg="add del mod modVis">
          <ac:chgData name="Carroll, Tyler" userId="69b673a0-6af4-4d8a-830b-550d1bbab5f8" providerId="ADAL" clId="{FA54304C-E424-4A4A-81D9-ABDA7518D7DD}" dt="2023-01-03T17:29:54.831" v="2876"/>
          <ac:spMkLst>
            <pc:docMk/>
            <pc:sldMk cId="2375811714" sldId="2147377138"/>
            <ac:spMk id="4" creationId="{35229D21-B2F7-41F7-505F-1E681C464FF4}"/>
          </ac:spMkLst>
        </pc:spChg>
        <pc:spChg chg="add del mod modVis">
          <ac:chgData name="Carroll, Tyler" userId="69b673a0-6af4-4d8a-830b-550d1bbab5f8" providerId="ADAL" clId="{FA54304C-E424-4A4A-81D9-ABDA7518D7DD}" dt="2023-01-03T22:14:27.689" v="10379"/>
          <ac:spMkLst>
            <pc:docMk/>
            <pc:sldMk cId="2375811714" sldId="2147377138"/>
            <ac:spMk id="4" creationId="{3EA585D2-033E-8348-E6C6-466810AB15F2}"/>
          </ac:spMkLst>
        </pc:spChg>
        <pc:spChg chg="add del mod modVis">
          <ac:chgData name="Carroll, Tyler" userId="69b673a0-6af4-4d8a-830b-550d1bbab5f8" providerId="ADAL" clId="{FA54304C-E424-4A4A-81D9-ABDA7518D7DD}" dt="2023-01-03T22:14:32.156" v="10424"/>
          <ac:spMkLst>
            <pc:docMk/>
            <pc:sldMk cId="2375811714" sldId="2147377138"/>
            <ac:spMk id="5" creationId="{67CD7284-55D7-8D0A-C88F-28CA2CE3FFBA}"/>
          </ac:spMkLst>
        </pc:spChg>
        <pc:spChg chg="mod">
          <ac:chgData name="Carroll, Tyler" userId="69b673a0-6af4-4d8a-830b-550d1bbab5f8" providerId="ADAL" clId="{FA54304C-E424-4A4A-81D9-ABDA7518D7DD}" dt="2023-01-04T18:09:25.958" v="11858" actId="2711"/>
          <ac:spMkLst>
            <pc:docMk/>
            <pc:sldMk cId="2375811714" sldId="2147377138"/>
            <ac:spMk id="6" creationId="{00000000-0000-0000-0000-000000000000}"/>
          </ac:spMkLst>
        </pc:spChg>
        <pc:graphicFrameChg chg="mod">
          <ac:chgData name="Carroll, Tyler" userId="69b673a0-6af4-4d8a-830b-550d1bbab5f8" providerId="ADAL" clId="{FA54304C-E424-4A4A-81D9-ABDA7518D7DD}" dt="2023-01-03T22:14:32.156" v="10426"/>
          <ac:graphicFrameMkLst>
            <pc:docMk/>
            <pc:sldMk cId="2375811714" sldId="2147377138"/>
            <ac:graphicFrameMk id="13" creationId="{6F63A89F-3657-F4B0-6FA3-F52EECB39407}"/>
          </ac:graphicFrameMkLst>
        </pc:graphicFrameChg>
        <pc:picChg chg="del">
          <ac:chgData name="Carroll, Tyler" userId="69b673a0-6af4-4d8a-830b-550d1bbab5f8" providerId="ADAL" clId="{FA54304C-E424-4A4A-81D9-ABDA7518D7DD}" dt="2023-01-03T17:54:28.252" v="3535" actId="478"/>
          <ac:picMkLst>
            <pc:docMk/>
            <pc:sldMk cId="2375811714" sldId="2147377138"/>
            <ac:picMk id="33" creationId="{EB830212-746B-1F16-DA24-E7DA1AE5C0EB}"/>
          </ac:picMkLst>
        </pc:picChg>
      </pc:sldChg>
      <pc:sldChg chg="addSp delSp modSp add del mod setBg addCm">
        <pc:chgData name="Carroll, Tyler" userId="69b673a0-6af4-4d8a-830b-550d1bbab5f8" providerId="ADAL" clId="{FA54304C-E424-4A4A-81D9-ABDA7518D7DD}" dt="2023-01-03T20:16:10.162" v="6703" actId="47"/>
        <pc:sldMkLst>
          <pc:docMk/>
          <pc:sldMk cId="1336090152" sldId="2147377141"/>
        </pc:sldMkLst>
        <pc:spChg chg="mod">
          <ac:chgData name="Carroll, Tyler" userId="69b673a0-6af4-4d8a-830b-550d1bbab5f8" providerId="ADAL" clId="{FA54304C-E424-4A4A-81D9-ABDA7518D7DD}" dt="2023-01-03T18:23:38.920" v="4710" actId="948"/>
          <ac:spMkLst>
            <pc:docMk/>
            <pc:sldMk cId="1336090152" sldId="2147377141"/>
            <ac:spMk id="3" creationId="{655A26EB-2B87-44CF-9189-EED39DA9EE8F}"/>
          </ac:spMkLst>
        </pc:spChg>
        <pc:spChg chg="add del mod modVis">
          <ac:chgData name="Carroll, Tyler" userId="69b673a0-6af4-4d8a-830b-550d1bbab5f8" providerId="ADAL" clId="{FA54304C-E424-4A4A-81D9-ABDA7518D7DD}" dt="2023-01-03T17:37:30.659" v="3235"/>
          <ac:spMkLst>
            <pc:docMk/>
            <pc:sldMk cId="1336090152" sldId="2147377141"/>
            <ac:spMk id="4" creationId="{73835F61-06E4-4532-700A-FA481CB3DB97}"/>
          </ac:spMkLst>
        </pc:spChg>
        <pc:spChg chg="add del mod modVis">
          <ac:chgData name="Carroll, Tyler" userId="69b673a0-6af4-4d8a-830b-550d1bbab5f8" providerId="ADAL" clId="{FA54304C-E424-4A4A-81D9-ABDA7518D7DD}" dt="2023-01-03T17:53:34.023" v="3460"/>
          <ac:spMkLst>
            <pc:docMk/>
            <pc:sldMk cId="1336090152" sldId="2147377141"/>
            <ac:spMk id="4" creationId="{D59510E4-DD7D-2AD3-29E3-81D7E0B547B2}"/>
          </ac:spMkLst>
        </pc:spChg>
        <pc:spChg chg="add del mod modVis">
          <ac:chgData name="Carroll, Tyler" userId="69b673a0-6af4-4d8a-830b-550d1bbab5f8" providerId="ADAL" clId="{FA54304C-E424-4A4A-81D9-ABDA7518D7DD}" dt="2023-01-03T17:53:35.828" v="3516"/>
          <ac:spMkLst>
            <pc:docMk/>
            <pc:sldMk cId="1336090152" sldId="2147377141"/>
            <ac:spMk id="5" creationId="{4C8FF764-9211-43E1-099D-1674D0BD9F8C}"/>
          </ac:spMkLst>
        </pc:spChg>
        <pc:spChg chg="add del mod modVis">
          <ac:chgData name="Carroll, Tyler" userId="69b673a0-6af4-4d8a-830b-550d1bbab5f8" providerId="ADAL" clId="{FA54304C-E424-4A4A-81D9-ABDA7518D7DD}" dt="2023-01-03T18:12:09.769" v="4255"/>
          <ac:spMkLst>
            <pc:docMk/>
            <pc:sldMk cId="1336090152" sldId="2147377141"/>
            <ac:spMk id="6" creationId="{4F14889B-768E-C382-434C-C52BCDADCBCA}"/>
          </ac:spMkLst>
        </pc:spChg>
        <pc:spChg chg="add del mod modVis">
          <ac:chgData name="Carroll, Tyler" userId="69b673a0-6af4-4d8a-830b-550d1bbab5f8" providerId="ADAL" clId="{FA54304C-E424-4A4A-81D9-ABDA7518D7DD}" dt="2023-01-03T18:23:31.789" v="4616"/>
          <ac:spMkLst>
            <pc:docMk/>
            <pc:sldMk cId="1336090152" sldId="2147377141"/>
            <ac:spMk id="7" creationId="{DA9E8419-1AF7-DD56-FF73-B5956182D946}"/>
          </ac:spMkLst>
        </pc:spChg>
        <pc:spChg chg="add del mod modVis">
          <ac:chgData name="Carroll, Tyler" userId="69b673a0-6af4-4d8a-830b-550d1bbab5f8" providerId="ADAL" clId="{FA54304C-E424-4A4A-81D9-ABDA7518D7DD}" dt="2023-01-03T18:23:32.472" v="4661"/>
          <ac:spMkLst>
            <pc:docMk/>
            <pc:sldMk cId="1336090152" sldId="2147377141"/>
            <ac:spMk id="8" creationId="{7803754E-97D9-B668-DDA8-AFD19AC9B8E5}"/>
          </ac:spMkLst>
        </pc:spChg>
        <pc:spChg chg="add del mod modVis">
          <ac:chgData name="Carroll, Tyler" userId="69b673a0-6af4-4d8a-830b-550d1bbab5f8" providerId="ADAL" clId="{FA54304C-E424-4A4A-81D9-ABDA7518D7DD}" dt="2023-01-03T18:23:34.707" v="4706"/>
          <ac:spMkLst>
            <pc:docMk/>
            <pc:sldMk cId="1336090152" sldId="2147377141"/>
            <ac:spMk id="9" creationId="{FB363C11-47A9-B14B-8844-017B040F525D}"/>
          </ac:spMkLst>
        </pc:spChg>
        <pc:spChg chg="add del mod modVis">
          <ac:chgData name="Carroll, Tyler" userId="69b673a0-6af4-4d8a-830b-550d1bbab5f8" providerId="ADAL" clId="{FA54304C-E424-4A4A-81D9-ABDA7518D7DD}" dt="2023-01-03T18:23:38.951" v="4751"/>
          <ac:spMkLst>
            <pc:docMk/>
            <pc:sldMk cId="1336090152" sldId="2147377141"/>
            <ac:spMk id="10" creationId="{3CCFC5AE-859B-6BB7-22CA-18B05D484A92}"/>
          </ac:spMkLst>
        </pc:spChg>
        <pc:spChg chg="mod">
          <ac:chgData name="Carroll, Tyler" userId="69b673a0-6af4-4d8a-830b-550d1bbab5f8" providerId="ADAL" clId="{FA54304C-E424-4A4A-81D9-ABDA7518D7DD}" dt="2023-01-03T18:12:09.216" v="4213"/>
          <ac:spMkLst>
            <pc:docMk/>
            <pc:sldMk cId="1336090152" sldId="2147377141"/>
            <ac:spMk id="21" creationId="{5B14A51B-A4A0-D86E-44E5-C584256E4AA8}"/>
          </ac:spMkLst>
        </pc:spChg>
        <pc:spChg chg="add del mod">
          <ac:chgData name="Carroll, Tyler" userId="69b673a0-6af4-4d8a-830b-550d1bbab5f8" providerId="ADAL" clId="{FA54304C-E424-4A4A-81D9-ABDA7518D7DD}" dt="2023-01-03T18:23:43.676" v="4754" actId="1076"/>
          <ac:spMkLst>
            <pc:docMk/>
            <pc:sldMk cId="1336090152" sldId="2147377141"/>
            <ac:spMk id="32" creationId="{75939A2B-9DB6-154C-7C1D-D371F454402B}"/>
          </ac:spMkLst>
        </pc:spChg>
        <pc:grpChg chg="del">
          <ac:chgData name="Carroll, Tyler" userId="69b673a0-6af4-4d8a-830b-550d1bbab5f8" providerId="ADAL" clId="{FA54304C-E424-4A4A-81D9-ABDA7518D7DD}" dt="2023-01-03T17:36:42.697" v="3173" actId="478"/>
          <ac:grpSpMkLst>
            <pc:docMk/>
            <pc:sldMk cId="1336090152" sldId="2147377141"/>
            <ac:grpSpMk id="9" creationId="{8E74B1F6-2379-AF8A-69EA-A49F6A4BA2CD}"/>
          </ac:grpSpMkLst>
        </pc:grpChg>
        <pc:grpChg chg="del">
          <ac:chgData name="Carroll, Tyler" userId="69b673a0-6af4-4d8a-830b-550d1bbab5f8" providerId="ADAL" clId="{FA54304C-E424-4A4A-81D9-ABDA7518D7DD}" dt="2023-01-03T17:36:48.337" v="3174" actId="478"/>
          <ac:grpSpMkLst>
            <pc:docMk/>
            <pc:sldMk cId="1336090152" sldId="2147377141"/>
            <ac:grpSpMk id="15" creationId="{A57D2E98-8518-85C4-5BFB-42D21BB77E30}"/>
          </ac:grpSpMkLst>
        </pc:grpChg>
        <pc:graphicFrameChg chg="mod">
          <ac:chgData name="Carroll, Tyler" userId="69b673a0-6af4-4d8a-830b-550d1bbab5f8" providerId="ADAL" clId="{FA54304C-E424-4A4A-81D9-ABDA7518D7DD}" dt="2023-01-03T18:23:38.954" v="4753"/>
          <ac:graphicFrameMkLst>
            <pc:docMk/>
            <pc:sldMk cId="1336090152" sldId="2147377141"/>
            <ac:graphicFrameMk id="48" creationId="{D674F820-824B-DACF-AE83-EA143A0702C1}"/>
          </ac:graphicFrameMkLst>
        </pc:graphicFrameChg>
        <pc:picChg chg="del">
          <ac:chgData name="Carroll, Tyler" userId="69b673a0-6af4-4d8a-830b-550d1bbab5f8" providerId="ADAL" clId="{FA54304C-E424-4A4A-81D9-ABDA7518D7DD}" dt="2023-01-03T17:53:38.890" v="3519" actId="478"/>
          <ac:picMkLst>
            <pc:docMk/>
            <pc:sldMk cId="1336090152" sldId="2147377141"/>
            <ac:picMk id="2" creationId="{D5AB32BF-C05C-8E76-AECD-E0D49A55409E}"/>
          </ac:picMkLst>
        </pc:picChg>
      </pc:sldChg>
      <pc:sldChg chg="addSp delSp modSp mod">
        <pc:chgData name="Carroll, Tyler" userId="69b673a0-6af4-4d8a-830b-550d1bbab5f8" providerId="ADAL" clId="{FA54304C-E424-4A4A-81D9-ABDA7518D7DD}" dt="2023-01-05T11:35:30.802" v="13203"/>
        <pc:sldMkLst>
          <pc:docMk/>
          <pc:sldMk cId="2147027108" sldId="2147377144"/>
        </pc:sldMkLst>
        <pc:spChg chg="add del mod modVis">
          <ac:chgData name="Carroll, Tyler" userId="69b673a0-6af4-4d8a-830b-550d1bbab5f8" providerId="ADAL" clId="{FA54304C-E424-4A4A-81D9-ABDA7518D7DD}" dt="2023-01-03T22:12:51.440" v="9309"/>
          <ac:spMkLst>
            <pc:docMk/>
            <pc:sldMk cId="2147027108" sldId="2147377144"/>
            <ac:spMk id="3" creationId="{16EAAE4C-CBCB-B627-39CE-259639305AD7}"/>
          </ac:spMkLst>
        </pc:spChg>
        <pc:spChg chg="add del mod modVis">
          <ac:chgData name="Carroll, Tyler" userId="69b673a0-6af4-4d8a-830b-550d1bbab5f8" providerId="ADAL" clId="{FA54304C-E424-4A4A-81D9-ABDA7518D7DD}" dt="2023-01-03T17:29:54.825" v="2868"/>
          <ac:spMkLst>
            <pc:docMk/>
            <pc:sldMk cId="2147027108" sldId="2147377144"/>
            <ac:spMk id="3" creationId="{2F921BF4-CDBE-885D-29F9-196CAA25D0C8}"/>
          </ac:spMkLst>
        </pc:spChg>
        <pc:spChg chg="add del mod modVis">
          <ac:chgData name="Carroll, Tyler" userId="69b673a0-6af4-4d8a-830b-550d1bbab5f8" providerId="ADAL" clId="{FA54304C-E424-4A4A-81D9-ABDA7518D7DD}" dt="2023-01-05T11:35:25.165" v="13156"/>
          <ac:spMkLst>
            <pc:docMk/>
            <pc:sldMk cId="2147027108" sldId="2147377144"/>
            <ac:spMk id="3" creationId="{92131FD7-C1BC-8037-FC4B-CBFC9EEB4184}"/>
          </ac:spMkLst>
        </pc:spChg>
        <pc:spChg chg="add del mod modVis">
          <ac:chgData name="Carroll, Tyler" userId="69b673a0-6af4-4d8a-830b-550d1bbab5f8" providerId="ADAL" clId="{FA54304C-E424-4A4A-81D9-ABDA7518D7DD}" dt="2023-01-05T11:35:30.798" v="13201"/>
          <ac:spMkLst>
            <pc:docMk/>
            <pc:sldMk cId="2147027108" sldId="2147377144"/>
            <ac:spMk id="4" creationId="{389B032F-FAC4-A0F1-EFE0-F355CAD0FFD9}"/>
          </ac:spMkLst>
        </pc:spChg>
        <pc:spChg chg="add del mod modVis">
          <ac:chgData name="Carroll, Tyler" userId="69b673a0-6af4-4d8a-830b-550d1bbab5f8" providerId="ADAL" clId="{FA54304C-E424-4A4A-81D9-ABDA7518D7DD}" dt="2023-01-03T22:12:54.841" v="9354"/>
          <ac:spMkLst>
            <pc:docMk/>
            <pc:sldMk cId="2147027108" sldId="2147377144"/>
            <ac:spMk id="4" creationId="{784FA1E6-4AA3-1E7E-E3E9-33F24BC5A4BB}"/>
          </ac:spMkLst>
        </pc:spChg>
        <pc:spChg chg="mod">
          <ac:chgData name="Carroll, Tyler" userId="69b673a0-6af4-4d8a-830b-550d1bbab5f8" providerId="ADAL" clId="{FA54304C-E424-4A4A-81D9-ABDA7518D7DD}" dt="2023-01-04T18:08:16.211" v="11847" actId="2711"/>
          <ac:spMkLst>
            <pc:docMk/>
            <pc:sldMk cId="2147027108" sldId="2147377144"/>
            <ac:spMk id="5" creationId="{BCD64456-65B2-EB1B-A047-236A0E432776}"/>
          </ac:spMkLst>
        </pc:spChg>
        <pc:spChg chg="mod">
          <ac:chgData name="Carroll, Tyler" userId="69b673a0-6af4-4d8a-830b-550d1bbab5f8" providerId="ADAL" clId="{FA54304C-E424-4A4A-81D9-ABDA7518D7DD}" dt="2023-01-05T11:35:30.743" v="13160" actId="948"/>
          <ac:spMkLst>
            <pc:docMk/>
            <pc:sldMk cId="2147027108" sldId="2147377144"/>
            <ac:spMk id="8" creationId="{658B3A2B-AAD7-BB17-9E7A-EEE42118211C}"/>
          </ac:spMkLst>
        </pc:spChg>
        <pc:graphicFrameChg chg="mod">
          <ac:chgData name="Carroll, Tyler" userId="69b673a0-6af4-4d8a-830b-550d1bbab5f8" providerId="ADAL" clId="{FA54304C-E424-4A4A-81D9-ABDA7518D7DD}" dt="2023-01-05T11:35:30.802" v="13203"/>
          <ac:graphicFrameMkLst>
            <pc:docMk/>
            <pc:sldMk cId="2147027108" sldId="2147377144"/>
            <ac:graphicFrameMk id="9" creationId="{85FD8D94-DA0D-CC58-AC3F-620E024CA2A1}"/>
          </ac:graphicFrameMkLst>
        </pc:graphicFrameChg>
        <pc:picChg chg="del">
          <ac:chgData name="Carroll, Tyler" userId="69b673a0-6af4-4d8a-830b-550d1bbab5f8" providerId="ADAL" clId="{FA54304C-E424-4A4A-81D9-ABDA7518D7DD}" dt="2023-01-03T17:54:05.741" v="3527" actId="478"/>
          <ac:picMkLst>
            <pc:docMk/>
            <pc:sldMk cId="2147027108" sldId="2147377144"/>
            <ac:picMk id="26" creationId="{B48574F2-0CF2-3D2E-F7C8-DA9FD0793B98}"/>
          </ac:picMkLst>
        </pc:picChg>
      </pc:sldChg>
      <pc:sldChg chg="addSp delSp modSp mod ord modNotesTx">
        <pc:chgData name="Carroll, Tyler" userId="69b673a0-6af4-4d8a-830b-550d1bbab5f8" providerId="ADAL" clId="{FA54304C-E424-4A4A-81D9-ABDA7518D7DD}" dt="2023-01-04T18:46:15.621" v="12705" actId="20577"/>
        <pc:sldMkLst>
          <pc:docMk/>
          <pc:sldMk cId="3094327458" sldId="2147377148"/>
        </pc:sldMkLst>
        <pc:spChg chg="add del mod modVis">
          <ac:chgData name="Carroll, Tyler" userId="69b673a0-6af4-4d8a-830b-550d1bbab5f8" providerId="ADAL" clId="{FA54304C-E424-4A4A-81D9-ABDA7518D7DD}" dt="2023-01-03T22:13:29.404" v="9759"/>
          <ac:spMkLst>
            <pc:docMk/>
            <pc:sldMk cId="3094327458" sldId="2147377148"/>
            <ac:spMk id="2" creationId="{6093B634-3E9E-0672-1DEE-7C8B3897053C}"/>
          </ac:spMkLst>
        </pc:spChg>
        <pc:spChg chg="mod">
          <ac:chgData name="Carroll, Tyler" userId="69b673a0-6af4-4d8a-830b-550d1bbab5f8" providerId="ADAL" clId="{FA54304C-E424-4A4A-81D9-ABDA7518D7DD}" dt="2023-01-03T22:13:40.748" v="9818" actId="948"/>
          <ac:spMkLst>
            <pc:docMk/>
            <pc:sldMk cId="3094327458" sldId="2147377148"/>
            <ac:spMk id="3" creationId="{42420021-C4B9-4BEC-B0DC-007E9052F9F5}"/>
          </ac:spMkLst>
        </pc:spChg>
        <pc:spChg chg="mod">
          <ac:chgData name="Carroll, Tyler" userId="69b673a0-6af4-4d8a-830b-550d1bbab5f8" providerId="ADAL" clId="{FA54304C-E424-4A4A-81D9-ABDA7518D7DD}" dt="2023-01-03T21:51:11.904" v="8797" actId="2711"/>
          <ac:spMkLst>
            <pc:docMk/>
            <pc:sldMk cId="3094327458" sldId="2147377148"/>
            <ac:spMk id="4" creationId="{C6524CEA-9BF5-468B-A203-D9C7664CB49F}"/>
          </ac:spMkLst>
        </pc:spChg>
        <pc:spChg chg="mod">
          <ac:chgData name="Carroll, Tyler" userId="69b673a0-6af4-4d8a-830b-550d1bbab5f8" providerId="ADAL" clId="{FA54304C-E424-4A4A-81D9-ABDA7518D7DD}" dt="2023-01-04T18:02:28.181" v="11827" actId="108"/>
          <ac:spMkLst>
            <pc:docMk/>
            <pc:sldMk cId="3094327458" sldId="2147377148"/>
            <ac:spMk id="5" creationId="{0217BA43-2843-4F2B-8234-4E1D5013B5E0}"/>
          </ac:spMkLst>
        </pc:spChg>
        <pc:spChg chg="add del mod modVis">
          <ac:chgData name="Carroll, Tyler" userId="69b673a0-6af4-4d8a-830b-550d1bbab5f8" providerId="ADAL" clId="{FA54304C-E424-4A4A-81D9-ABDA7518D7DD}" dt="2023-01-03T22:13:37.222" v="9804"/>
          <ac:spMkLst>
            <pc:docMk/>
            <pc:sldMk cId="3094327458" sldId="2147377148"/>
            <ac:spMk id="7" creationId="{15AEA09B-D372-E377-D61A-2BAECF67420F}"/>
          </ac:spMkLst>
        </pc:spChg>
        <pc:spChg chg="add del mod modVis">
          <ac:chgData name="Carroll, Tyler" userId="69b673a0-6af4-4d8a-830b-550d1bbab5f8" providerId="ADAL" clId="{FA54304C-E424-4A4A-81D9-ABDA7518D7DD}" dt="2023-01-03T22:13:40.781" v="9859"/>
          <ac:spMkLst>
            <pc:docMk/>
            <pc:sldMk cId="3094327458" sldId="2147377148"/>
            <ac:spMk id="8" creationId="{3322F94C-AF91-A96E-966E-7A1FAFE29165}"/>
          </ac:spMkLst>
        </pc:spChg>
        <pc:graphicFrameChg chg="mod">
          <ac:chgData name="Carroll, Tyler" userId="69b673a0-6af4-4d8a-830b-550d1bbab5f8" providerId="ADAL" clId="{FA54304C-E424-4A4A-81D9-ABDA7518D7DD}" dt="2023-01-03T22:13:40.783" v="9861"/>
          <ac:graphicFrameMkLst>
            <pc:docMk/>
            <pc:sldMk cId="3094327458" sldId="2147377148"/>
            <ac:graphicFrameMk id="6" creationId="{5745F2DF-E734-3651-31E1-F6705F213FBA}"/>
          </ac:graphicFrameMkLst>
        </pc:graphicFrameChg>
        <pc:picChg chg="mod modCrop">
          <ac:chgData name="Carroll, Tyler" userId="69b673a0-6af4-4d8a-830b-550d1bbab5f8" providerId="ADAL" clId="{FA54304C-E424-4A4A-81D9-ABDA7518D7DD}" dt="2023-01-04T17:34:53.539" v="11540" actId="1076"/>
          <ac:picMkLst>
            <pc:docMk/>
            <pc:sldMk cId="3094327458" sldId="2147377148"/>
            <ac:picMk id="14" creationId="{C578003B-BBE6-2A57-032A-B3C943D15DB5}"/>
          </ac:picMkLst>
        </pc:picChg>
        <pc:picChg chg="del">
          <ac:chgData name="Carroll, Tyler" userId="69b673a0-6af4-4d8a-830b-550d1bbab5f8" providerId="ADAL" clId="{FA54304C-E424-4A4A-81D9-ABDA7518D7DD}" dt="2023-01-03T17:54:18.191" v="3531" actId="478"/>
          <ac:picMkLst>
            <pc:docMk/>
            <pc:sldMk cId="3094327458" sldId="2147377148"/>
            <ac:picMk id="25" creationId="{38193D40-CA88-468E-607A-D20B9724969D}"/>
          </ac:picMkLst>
        </pc:picChg>
      </pc:sldChg>
      <pc:sldChg chg="addSp delSp modSp mod setBg">
        <pc:chgData name="Carroll, Tyler" userId="69b673a0-6af4-4d8a-830b-550d1bbab5f8" providerId="ADAL" clId="{FA54304C-E424-4A4A-81D9-ABDA7518D7DD}" dt="2023-01-04T18:09:39.982" v="11860" actId="2711"/>
        <pc:sldMkLst>
          <pc:docMk/>
          <pc:sldMk cId="3845148101" sldId="2147377149"/>
        </pc:sldMkLst>
        <pc:spChg chg="add del mod modVis">
          <ac:chgData name="Carroll, Tyler" userId="69b673a0-6af4-4d8a-830b-550d1bbab5f8" providerId="ADAL" clId="{FA54304C-E424-4A4A-81D9-ABDA7518D7DD}" dt="2023-01-03T22:15:44.172" v="10620"/>
          <ac:spMkLst>
            <pc:docMk/>
            <pc:sldMk cId="3845148101" sldId="2147377149"/>
            <ac:spMk id="2" creationId="{D52B3307-EF19-9D1D-4127-871B6E55039E}"/>
          </ac:spMkLst>
        </pc:spChg>
        <pc:spChg chg="mod">
          <ac:chgData name="Carroll, Tyler" userId="69b673a0-6af4-4d8a-830b-550d1bbab5f8" providerId="ADAL" clId="{FA54304C-E424-4A4A-81D9-ABDA7518D7DD}" dt="2023-01-03T22:15:49.411" v="10624" actId="948"/>
          <ac:spMkLst>
            <pc:docMk/>
            <pc:sldMk cId="3845148101" sldId="2147377149"/>
            <ac:spMk id="3" creationId="{8EA20FCF-9014-359B-400C-A3619A8AA2C0}"/>
          </ac:spMkLst>
        </pc:spChg>
        <pc:spChg chg="mod">
          <ac:chgData name="Carroll, Tyler" userId="69b673a0-6af4-4d8a-830b-550d1bbab5f8" providerId="ADAL" clId="{FA54304C-E424-4A4A-81D9-ABDA7518D7DD}" dt="2023-01-03T16:58:55.152" v="24"/>
          <ac:spMkLst>
            <pc:docMk/>
            <pc:sldMk cId="3845148101" sldId="2147377149"/>
            <ac:spMk id="4" creationId="{781C86E4-837D-ABAA-C5C0-09721A86220B}"/>
          </ac:spMkLst>
        </pc:spChg>
        <pc:spChg chg="mod">
          <ac:chgData name="Carroll, Tyler" userId="69b673a0-6af4-4d8a-830b-550d1bbab5f8" providerId="ADAL" clId="{FA54304C-E424-4A4A-81D9-ABDA7518D7DD}" dt="2023-01-04T18:09:39.982" v="11860" actId="2711"/>
          <ac:spMkLst>
            <pc:docMk/>
            <pc:sldMk cId="3845148101" sldId="2147377149"/>
            <ac:spMk id="5" creationId="{EA6EFA06-10A7-0DAC-FE2F-2DB9C090A3F1}"/>
          </ac:spMkLst>
        </pc:spChg>
        <pc:spChg chg="add del mod modVis">
          <ac:chgData name="Carroll, Tyler" userId="69b673a0-6af4-4d8a-830b-550d1bbab5f8" providerId="ADAL" clId="{FA54304C-E424-4A4A-81D9-ABDA7518D7DD}" dt="2023-01-03T16:58:55.700" v="66"/>
          <ac:spMkLst>
            <pc:docMk/>
            <pc:sldMk cId="3845148101" sldId="2147377149"/>
            <ac:spMk id="6" creationId="{3B4CB7B0-C7EE-A2C6-4B33-66AA2331EA88}"/>
          </ac:spMkLst>
        </pc:spChg>
        <pc:spChg chg="add del mod modVis">
          <ac:chgData name="Carroll, Tyler" userId="69b673a0-6af4-4d8a-830b-550d1bbab5f8" providerId="ADAL" clId="{FA54304C-E424-4A4A-81D9-ABDA7518D7DD}" dt="2023-01-03T22:15:49.451" v="10665"/>
          <ac:spMkLst>
            <pc:docMk/>
            <pc:sldMk cId="3845148101" sldId="2147377149"/>
            <ac:spMk id="6" creationId="{D2C91F53-C2C7-099F-BC93-88F2E91DC5EF}"/>
          </ac:spMkLst>
        </pc:spChg>
        <pc:graphicFrameChg chg="mod">
          <ac:chgData name="Carroll, Tyler" userId="69b673a0-6af4-4d8a-830b-550d1bbab5f8" providerId="ADAL" clId="{FA54304C-E424-4A4A-81D9-ABDA7518D7DD}" dt="2023-01-03T22:15:49.454" v="10667"/>
          <ac:graphicFrameMkLst>
            <pc:docMk/>
            <pc:sldMk cId="3845148101" sldId="2147377149"/>
            <ac:graphicFrameMk id="7" creationId="{9D951C07-C2E6-34E8-A2C5-9562AD0137D6}"/>
          </ac:graphicFrameMkLst>
        </pc:graphicFrameChg>
        <pc:graphicFrameChg chg="modGraphic">
          <ac:chgData name="Carroll, Tyler" userId="69b673a0-6af4-4d8a-830b-550d1bbab5f8" providerId="ADAL" clId="{FA54304C-E424-4A4A-81D9-ABDA7518D7DD}" dt="2023-01-03T16:59:03.508" v="69" actId="207"/>
          <ac:graphicFrameMkLst>
            <pc:docMk/>
            <pc:sldMk cId="3845148101" sldId="2147377149"/>
            <ac:graphicFrameMk id="9" creationId="{37895A5C-557B-7C47-4992-423508D82F9A}"/>
          </ac:graphicFrameMkLst>
        </pc:graphicFrameChg>
      </pc:sldChg>
      <pc:sldChg chg="addSp delSp modSp mod ord setBg modNotesTx">
        <pc:chgData name="Carroll, Tyler" userId="69b673a0-6af4-4d8a-830b-550d1bbab5f8" providerId="ADAL" clId="{FA54304C-E424-4A4A-81D9-ABDA7518D7DD}" dt="2023-01-04T16:22:23.455" v="11351" actId="20577"/>
        <pc:sldMkLst>
          <pc:docMk/>
          <pc:sldMk cId="4021357328" sldId="2147377150"/>
        </pc:sldMkLst>
        <pc:spChg chg="mod">
          <ac:chgData name="Carroll, Tyler" userId="69b673a0-6af4-4d8a-830b-550d1bbab5f8" providerId="ADAL" clId="{FA54304C-E424-4A4A-81D9-ABDA7518D7DD}" dt="2023-01-03T20:36:07.246" v="7097" actId="948"/>
          <ac:spMkLst>
            <pc:docMk/>
            <pc:sldMk cId="4021357328" sldId="2147377150"/>
            <ac:spMk id="3" creationId="{7C31B922-FCD1-4880-8A44-04E5BDD484BA}"/>
          </ac:spMkLst>
        </pc:spChg>
        <pc:spChg chg="mod">
          <ac:chgData name="Carroll, Tyler" userId="69b673a0-6af4-4d8a-830b-550d1bbab5f8" providerId="ADAL" clId="{FA54304C-E424-4A4A-81D9-ABDA7518D7DD}" dt="2023-01-03T20:34:59.276" v="6996" actId="403"/>
          <ac:spMkLst>
            <pc:docMk/>
            <pc:sldMk cId="4021357328" sldId="2147377150"/>
            <ac:spMk id="4" creationId="{6DAE42A6-02E5-ABB0-8232-2AFE0BB76C98}"/>
          </ac:spMkLst>
        </pc:spChg>
        <pc:spChg chg="mod">
          <ac:chgData name="Carroll, Tyler" userId="69b673a0-6af4-4d8a-830b-550d1bbab5f8" providerId="ADAL" clId="{FA54304C-E424-4A4A-81D9-ABDA7518D7DD}" dt="2023-01-03T20:36:17.515" v="7141" actId="2711"/>
          <ac:spMkLst>
            <pc:docMk/>
            <pc:sldMk cId="4021357328" sldId="2147377150"/>
            <ac:spMk id="5" creationId="{94CFD307-6DAB-473D-AF83-06BB85B99DE9}"/>
          </ac:spMkLst>
        </pc:spChg>
        <pc:spChg chg="mod">
          <ac:chgData name="Carroll, Tyler" userId="69b673a0-6af4-4d8a-830b-550d1bbab5f8" providerId="ADAL" clId="{FA54304C-E424-4A4A-81D9-ABDA7518D7DD}" dt="2023-01-03T20:35:19.341" v="6998" actId="403"/>
          <ac:spMkLst>
            <pc:docMk/>
            <pc:sldMk cId="4021357328" sldId="2147377150"/>
            <ac:spMk id="84" creationId="{12B23362-5A84-5E1D-7884-D8AEB6DA22C1}"/>
          </ac:spMkLst>
        </pc:spChg>
        <pc:spChg chg="mod">
          <ac:chgData name="Carroll, Tyler" userId="69b673a0-6af4-4d8a-830b-550d1bbab5f8" providerId="ADAL" clId="{FA54304C-E424-4A4A-81D9-ABDA7518D7DD}" dt="2023-01-03T20:34:52.271" v="6994" actId="1035"/>
          <ac:spMkLst>
            <pc:docMk/>
            <pc:sldMk cId="4021357328" sldId="2147377150"/>
            <ac:spMk id="85" creationId="{FBF40091-9D32-7B8C-4A11-1EE82789FF11}"/>
          </ac:spMkLst>
        </pc:spChg>
        <pc:spChg chg="mod">
          <ac:chgData name="Carroll, Tyler" userId="69b673a0-6af4-4d8a-830b-550d1bbab5f8" providerId="ADAL" clId="{FA54304C-E424-4A4A-81D9-ABDA7518D7DD}" dt="2023-01-03T20:34:21.721" v="6986" actId="2711"/>
          <ac:spMkLst>
            <pc:docMk/>
            <pc:sldMk cId="4021357328" sldId="2147377150"/>
            <ac:spMk id="88" creationId="{2A894F24-DB55-4D38-86B8-F9DA0EA7B564}"/>
          </ac:spMkLst>
        </pc:spChg>
        <pc:spChg chg="mod">
          <ac:chgData name="Carroll, Tyler" userId="69b673a0-6af4-4d8a-830b-550d1bbab5f8" providerId="ADAL" clId="{FA54304C-E424-4A4A-81D9-ABDA7518D7DD}" dt="2023-01-03T20:34:28.221" v="6987" actId="2711"/>
          <ac:spMkLst>
            <pc:docMk/>
            <pc:sldMk cId="4021357328" sldId="2147377150"/>
            <ac:spMk id="89" creationId="{E8E1A298-8652-40F6-A6E0-EA0BEB4109B1}"/>
          </ac:spMkLst>
        </pc:spChg>
        <pc:spChg chg="add del mod modVis">
          <ac:chgData name="Carroll, Tyler" userId="69b673a0-6af4-4d8a-830b-550d1bbab5f8" providerId="ADAL" clId="{FA54304C-E424-4A4A-81D9-ABDA7518D7DD}" dt="2023-01-03T20:35:52.631" v="7048"/>
          <ac:spMkLst>
            <pc:docMk/>
            <pc:sldMk cId="4021357328" sldId="2147377150"/>
            <ac:spMk id="90" creationId="{BB629338-FD9B-9640-5822-DC70AC42F126}"/>
          </ac:spMkLst>
        </pc:spChg>
        <pc:spChg chg="add del mod modVis">
          <ac:chgData name="Carroll, Tyler" userId="69b673a0-6af4-4d8a-830b-550d1bbab5f8" providerId="ADAL" clId="{FA54304C-E424-4A4A-81D9-ABDA7518D7DD}" dt="2023-01-03T18:09:58.980" v="4148"/>
          <ac:spMkLst>
            <pc:docMk/>
            <pc:sldMk cId="4021357328" sldId="2147377150"/>
            <ac:spMk id="90" creationId="{BC52FC51-27CE-9EAF-FF2E-72A4E3E22C41}"/>
          </ac:spMkLst>
        </pc:spChg>
        <pc:spChg chg="add del mod modVis">
          <ac:chgData name="Carroll, Tyler" userId="69b673a0-6af4-4d8a-830b-550d1bbab5f8" providerId="ADAL" clId="{FA54304C-E424-4A4A-81D9-ABDA7518D7DD}" dt="2023-01-03T20:36:00.418" v="7093"/>
          <ac:spMkLst>
            <pc:docMk/>
            <pc:sldMk cId="4021357328" sldId="2147377150"/>
            <ac:spMk id="91" creationId="{BE12E99A-67F8-6864-2EE8-3D210C90BD67}"/>
          </ac:spMkLst>
        </pc:spChg>
        <pc:spChg chg="mod">
          <ac:chgData name="Carroll, Tyler" userId="69b673a0-6af4-4d8a-830b-550d1bbab5f8" providerId="ADAL" clId="{FA54304C-E424-4A4A-81D9-ABDA7518D7DD}" dt="2023-01-03T20:34:38.756" v="6989" actId="403"/>
          <ac:spMkLst>
            <pc:docMk/>
            <pc:sldMk cId="4021357328" sldId="2147377150"/>
            <ac:spMk id="92" creationId="{209512EA-B165-FAB5-4A54-0596B023F519}"/>
          </ac:spMkLst>
        </pc:spChg>
        <pc:spChg chg="mod">
          <ac:chgData name="Carroll, Tyler" userId="69b673a0-6af4-4d8a-830b-550d1bbab5f8" providerId="ADAL" clId="{FA54304C-E424-4A4A-81D9-ABDA7518D7DD}" dt="2023-01-03T20:35:33.874" v="7002" actId="2711"/>
          <ac:spMkLst>
            <pc:docMk/>
            <pc:sldMk cId="4021357328" sldId="2147377150"/>
            <ac:spMk id="93" creationId="{2D6978D0-7F94-4F90-4720-4138920A5D20}"/>
          </ac:spMkLst>
        </pc:spChg>
        <pc:spChg chg="mod">
          <ac:chgData name="Carroll, Tyler" userId="69b673a0-6af4-4d8a-830b-550d1bbab5f8" providerId="ADAL" clId="{FA54304C-E424-4A4A-81D9-ABDA7518D7DD}" dt="2023-01-03T20:35:45.577" v="7005" actId="1076"/>
          <ac:spMkLst>
            <pc:docMk/>
            <pc:sldMk cId="4021357328" sldId="2147377150"/>
            <ac:spMk id="94" creationId="{3C95F75A-8FA9-7D67-D9B5-63A347CBE9ED}"/>
          </ac:spMkLst>
        </pc:spChg>
        <pc:spChg chg="mod">
          <ac:chgData name="Carroll, Tyler" userId="69b673a0-6af4-4d8a-830b-550d1bbab5f8" providerId="ADAL" clId="{FA54304C-E424-4A4A-81D9-ABDA7518D7DD}" dt="2023-01-03T20:35:27.138" v="7000" actId="2711"/>
          <ac:spMkLst>
            <pc:docMk/>
            <pc:sldMk cId="4021357328" sldId="2147377150"/>
            <ac:spMk id="95" creationId="{F3441D1A-721D-DE4E-9B0F-96FDA89AF05C}"/>
          </ac:spMkLst>
        </pc:spChg>
        <pc:spChg chg="mod">
          <ac:chgData name="Carroll, Tyler" userId="69b673a0-6af4-4d8a-830b-550d1bbab5f8" providerId="ADAL" clId="{FA54304C-E424-4A4A-81D9-ABDA7518D7DD}" dt="2023-01-03T20:36:06.704" v="7096"/>
          <ac:spMkLst>
            <pc:docMk/>
            <pc:sldMk cId="4021357328" sldId="2147377150"/>
            <ac:spMk id="96" creationId="{440A45BA-284B-4D59-AEF4-7D0A18BA9F36}"/>
          </ac:spMkLst>
        </pc:spChg>
        <pc:spChg chg="add del mod modVis">
          <ac:chgData name="Carroll, Tyler" userId="69b673a0-6af4-4d8a-830b-550d1bbab5f8" providerId="ADAL" clId="{FA54304C-E424-4A4A-81D9-ABDA7518D7DD}" dt="2023-01-03T20:36:07.280" v="7138"/>
          <ac:spMkLst>
            <pc:docMk/>
            <pc:sldMk cId="4021357328" sldId="2147377150"/>
            <ac:spMk id="97" creationId="{0360D397-2A98-9A86-C750-BAC8EB3127E2}"/>
          </ac:spMkLst>
        </pc:spChg>
        <pc:spChg chg="mod">
          <ac:chgData name="Carroll, Tyler" userId="69b673a0-6af4-4d8a-830b-550d1bbab5f8" providerId="ADAL" clId="{FA54304C-E424-4A4A-81D9-ABDA7518D7DD}" dt="2023-01-03T20:34:11.911" v="6985" actId="2711"/>
          <ac:spMkLst>
            <pc:docMk/>
            <pc:sldMk cId="4021357328" sldId="2147377150"/>
            <ac:spMk id="99" creationId="{62E1AC78-8EBC-990E-AAB1-0265E87C4F66}"/>
          </ac:spMkLst>
        </pc:spChg>
        <pc:graphicFrameChg chg="mod">
          <ac:chgData name="Carroll, Tyler" userId="69b673a0-6af4-4d8a-830b-550d1bbab5f8" providerId="ADAL" clId="{FA54304C-E424-4A4A-81D9-ABDA7518D7DD}" dt="2023-01-03T20:36:07.280" v="7140"/>
          <ac:graphicFrameMkLst>
            <pc:docMk/>
            <pc:sldMk cId="4021357328" sldId="2147377150"/>
            <ac:graphicFrameMk id="83" creationId="{E1084622-6F0F-A30B-B5C5-3280A732496F}"/>
          </ac:graphicFrameMkLst>
        </pc:graphicFrameChg>
      </pc:sldChg>
      <pc:sldChg chg="del">
        <pc:chgData name="Carroll, Tyler" userId="69b673a0-6af4-4d8a-830b-550d1bbab5f8" providerId="ADAL" clId="{FA54304C-E424-4A4A-81D9-ABDA7518D7DD}" dt="2023-01-03T17:49:56.799" v="3398" actId="47"/>
        <pc:sldMkLst>
          <pc:docMk/>
          <pc:sldMk cId="1229525267" sldId="2147377155"/>
        </pc:sldMkLst>
      </pc:sldChg>
      <pc:sldChg chg="modSp del mod ord">
        <pc:chgData name="Carroll, Tyler" userId="69b673a0-6af4-4d8a-830b-550d1bbab5f8" providerId="ADAL" clId="{FA54304C-E424-4A4A-81D9-ABDA7518D7DD}" dt="2023-01-03T17:47:13.142" v="3361" actId="47"/>
        <pc:sldMkLst>
          <pc:docMk/>
          <pc:sldMk cId="4266858557" sldId="2147377160"/>
        </pc:sldMkLst>
        <pc:graphicFrameChg chg="mod modGraphic">
          <ac:chgData name="Carroll, Tyler" userId="69b673a0-6af4-4d8a-830b-550d1bbab5f8" providerId="ADAL" clId="{FA54304C-E424-4A4A-81D9-ABDA7518D7DD}" dt="2023-01-03T17:01:00.308" v="153" actId="20577"/>
          <ac:graphicFrameMkLst>
            <pc:docMk/>
            <pc:sldMk cId="4266858557" sldId="2147377160"/>
            <ac:graphicFrameMk id="20" creationId="{1E4BE318-64A4-50DF-225A-8D3119EE7BD6}"/>
          </ac:graphicFrameMkLst>
        </pc:graphicFrameChg>
      </pc:sldChg>
      <pc:sldChg chg="del">
        <pc:chgData name="Carroll, Tyler" userId="69b673a0-6af4-4d8a-830b-550d1bbab5f8" providerId="ADAL" clId="{FA54304C-E424-4A4A-81D9-ABDA7518D7DD}" dt="2023-01-03T17:49:56.799" v="3398" actId="47"/>
        <pc:sldMkLst>
          <pc:docMk/>
          <pc:sldMk cId="4202834752" sldId="2147377161"/>
        </pc:sldMkLst>
      </pc:sldChg>
      <pc:sldChg chg="addSp delSp modSp del mod">
        <pc:chgData name="Carroll, Tyler" userId="69b673a0-6af4-4d8a-830b-550d1bbab5f8" providerId="ADAL" clId="{FA54304C-E424-4A4A-81D9-ABDA7518D7DD}" dt="2023-01-05T04:14:49.117" v="13066" actId="47"/>
        <pc:sldMkLst>
          <pc:docMk/>
          <pc:sldMk cId="3603225117" sldId="2147377162"/>
        </pc:sldMkLst>
        <pc:spChg chg="add del mod modVis">
          <ac:chgData name="Carroll, Tyler" userId="69b673a0-6af4-4d8a-830b-550d1bbab5f8" providerId="ADAL" clId="{FA54304C-E424-4A4A-81D9-ABDA7518D7DD}" dt="2023-01-03T22:16:02.500" v="10854"/>
          <ac:spMkLst>
            <pc:docMk/>
            <pc:sldMk cId="3603225117" sldId="2147377162"/>
            <ac:spMk id="2" creationId="{379DECF8-A167-F780-7A68-6E40B2C0A9C0}"/>
          </ac:spMkLst>
        </pc:spChg>
        <pc:spChg chg="del">
          <ac:chgData name="Carroll, Tyler" userId="69b673a0-6af4-4d8a-830b-550d1bbab5f8" providerId="ADAL" clId="{FA54304C-E424-4A4A-81D9-ABDA7518D7DD}" dt="2023-01-03T16:50:20.942" v="22" actId="478"/>
          <ac:spMkLst>
            <pc:docMk/>
            <pc:sldMk cId="3603225117" sldId="2147377162"/>
            <ac:spMk id="2" creationId="{A5B8A210-4FA5-9FF1-FFC6-02E0786F9888}"/>
          </ac:spMkLst>
        </pc:spChg>
        <pc:spChg chg="mod">
          <ac:chgData name="Carroll, Tyler" userId="69b673a0-6af4-4d8a-830b-550d1bbab5f8" providerId="ADAL" clId="{FA54304C-E424-4A4A-81D9-ABDA7518D7DD}" dt="2023-01-03T22:16:05.852" v="10858" actId="948"/>
          <ac:spMkLst>
            <pc:docMk/>
            <pc:sldMk cId="3603225117" sldId="2147377162"/>
            <ac:spMk id="3" creationId="{7C31B922-FCD1-4880-8A44-04E5BDD484BA}"/>
          </ac:spMkLst>
        </pc:spChg>
        <pc:spChg chg="add del mod modVis">
          <ac:chgData name="Carroll, Tyler" userId="69b673a0-6af4-4d8a-830b-550d1bbab5f8" providerId="ADAL" clId="{FA54304C-E424-4A4A-81D9-ABDA7518D7DD}" dt="2023-01-03T22:16:05.884" v="10899"/>
          <ac:spMkLst>
            <pc:docMk/>
            <pc:sldMk cId="3603225117" sldId="2147377162"/>
            <ac:spMk id="4" creationId="{3DBF6567-9D92-C366-2637-B14054CB40EC}"/>
          </ac:spMkLst>
        </pc:spChg>
        <pc:spChg chg="mod">
          <ac:chgData name="Carroll, Tyler" userId="69b673a0-6af4-4d8a-830b-550d1bbab5f8" providerId="ADAL" clId="{FA54304C-E424-4A4A-81D9-ABDA7518D7DD}" dt="2023-01-04T18:09:49.288" v="11862" actId="2711"/>
          <ac:spMkLst>
            <pc:docMk/>
            <pc:sldMk cId="3603225117" sldId="2147377162"/>
            <ac:spMk id="5" creationId="{94CFD307-6DAB-473D-AF83-06BB85B99DE9}"/>
          </ac:spMkLst>
        </pc:spChg>
        <pc:graphicFrameChg chg="mod">
          <ac:chgData name="Carroll, Tyler" userId="69b673a0-6af4-4d8a-830b-550d1bbab5f8" providerId="ADAL" clId="{FA54304C-E424-4A4A-81D9-ABDA7518D7DD}" dt="2023-01-03T22:16:05.886" v="10901"/>
          <ac:graphicFrameMkLst>
            <pc:docMk/>
            <pc:sldMk cId="3603225117" sldId="2147377162"/>
            <ac:graphicFrameMk id="83" creationId="{E1084622-6F0F-A30B-B5C5-3280A732496F}"/>
          </ac:graphicFrameMkLst>
        </pc:graphicFrameChg>
      </pc:sldChg>
      <pc:sldChg chg="addSp delSp modSp mod ord setBg modNotesTx">
        <pc:chgData name="Carroll, Tyler" userId="69b673a0-6af4-4d8a-830b-550d1bbab5f8" providerId="ADAL" clId="{FA54304C-E424-4A4A-81D9-ABDA7518D7DD}" dt="2023-01-04T18:46:38.481" v="12728"/>
        <pc:sldMkLst>
          <pc:docMk/>
          <pc:sldMk cId="248594990" sldId="2147377163"/>
        </pc:sldMkLst>
        <pc:spChg chg="add del mod modVis">
          <ac:chgData name="Carroll, Tyler" userId="69b673a0-6af4-4d8a-830b-550d1bbab5f8" providerId="ADAL" clId="{FA54304C-E424-4A4A-81D9-ABDA7518D7DD}" dt="2023-01-03T21:15:32.830" v="7563"/>
          <ac:spMkLst>
            <pc:docMk/>
            <pc:sldMk cId="248594990" sldId="2147377163"/>
            <ac:spMk id="2" creationId="{D6F1C19D-1582-6236-5DFC-5DEF1EB2EC93}"/>
          </ac:spMkLst>
        </pc:spChg>
        <pc:spChg chg="add del mod modVis">
          <ac:chgData name="Carroll, Tyler" userId="69b673a0-6af4-4d8a-830b-550d1bbab5f8" providerId="ADAL" clId="{FA54304C-E424-4A4A-81D9-ABDA7518D7DD}" dt="2023-01-03T21:15:36.557" v="7608"/>
          <ac:spMkLst>
            <pc:docMk/>
            <pc:sldMk cId="248594990" sldId="2147377163"/>
            <ac:spMk id="4" creationId="{9FEC1D04-FB03-FE43-9EC4-DBE80BA80FBA}"/>
          </ac:spMkLst>
        </pc:spChg>
        <pc:spChg chg="del mod">
          <ac:chgData name="Carroll, Tyler" userId="69b673a0-6af4-4d8a-830b-550d1bbab5f8" providerId="ADAL" clId="{FA54304C-E424-4A4A-81D9-ABDA7518D7DD}" dt="2023-01-03T16:50:17.575" v="21" actId="478"/>
          <ac:spMkLst>
            <pc:docMk/>
            <pc:sldMk cId="248594990" sldId="2147377163"/>
            <ac:spMk id="4" creationId="{A2A0C800-CFE7-C112-1E41-137C79411D01}"/>
          </ac:spMkLst>
        </pc:spChg>
        <pc:spChg chg="add del mod modVis">
          <ac:chgData name="Carroll, Tyler" userId="69b673a0-6af4-4d8a-830b-550d1bbab5f8" providerId="ADAL" clId="{FA54304C-E424-4A4A-81D9-ABDA7518D7DD}" dt="2023-01-04T17:58:39.626" v="11633"/>
          <ac:spMkLst>
            <pc:docMk/>
            <pc:sldMk cId="248594990" sldId="2147377163"/>
            <ac:spMk id="5" creationId="{A0ECF55A-F4BA-C295-7959-25492C96DDA1}"/>
          </ac:spMkLst>
        </pc:spChg>
        <pc:spChg chg="mod ord">
          <ac:chgData name="Carroll, Tyler" userId="69b673a0-6af4-4d8a-830b-550d1bbab5f8" providerId="ADAL" clId="{FA54304C-E424-4A4A-81D9-ABDA7518D7DD}" dt="2023-01-04T18:03:48.212" v="11835" actId="2711"/>
          <ac:spMkLst>
            <pc:docMk/>
            <pc:sldMk cId="248594990" sldId="2147377163"/>
            <ac:spMk id="6" creationId="{7EB90EA3-F4DD-F4CE-DBEE-B5517961E983}"/>
          </ac:spMkLst>
        </pc:spChg>
        <pc:spChg chg="mod ord">
          <ac:chgData name="Carroll, Tyler" userId="69b673a0-6af4-4d8a-830b-550d1bbab5f8" providerId="ADAL" clId="{FA54304C-E424-4A4A-81D9-ABDA7518D7DD}" dt="2023-01-04T17:58:39.593" v="11592" actId="948"/>
          <ac:spMkLst>
            <pc:docMk/>
            <pc:sldMk cId="248594990" sldId="2147377163"/>
            <ac:spMk id="7" creationId="{C1D0C9A9-0B17-3C86-E142-1ACADB775522}"/>
          </ac:spMkLst>
        </pc:spChg>
        <pc:spChg chg="mod ord">
          <ac:chgData name="Carroll, Tyler" userId="69b673a0-6af4-4d8a-830b-550d1bbab5f8" providerId="ADAL" clId="{FA54304C-E424-4A4A-81D9-ABDA7518D7DD}" dt="2023-01-04T18:44:19.253" v="12643" actId="20577"/>
          <ac:spMkLst>
            <pc:docMk/>
            <pc:sldMk cId="248594990" sldId="2147377163"/>
            <ac:spMk id="9" creationId="{179963E5-D97C-B774-64BA-A768630193EC}"/>
          </ac:spMkLst>
        </pc:spChg>
        <pc:spChg chg="mod">
          <ac:chgData name="Carroll, Tyler" userId="69b673a0-6af4-4d8a-830b-550d1bbab5f8" providerId="ADAL" clId="{FA54304C-E424-4A4A-81D9-ABDA7518D7DD}" dt="2023-01-03T22:04:39.572" v="8927" actId="2711"/>
          <ac:spMkLst>
            <pc:docMk/>
            <pc:sldMk cId="248594990" sldId="2147377163"/>
            <ac:spMk id="12" creationId="{ACF642DD-5F0A-FE26-D51A-166F74F40B3A}"/>
          </ac:spMkLst>
        </pc:spChg>
        <pc:spChg chg="mod">
          <ac:chgData name="Carroll, Tyler" userId="69b673a0-6af4-4d8a-830b-550d1bbab5f8" providerId="ADAL" clId="{FA54304C-E424-4A4A-81D9-ABDA7518D7DD}" dt="2023-01-03T22:05:22.375" v="8942" actId="1035"/>
          <ac:spMkLst>
            <pc:docMk/>
            <pc:sldMk cId="248594990" sldId="2147377163"/>
            <ac:spMk id="13" creationId="{A9F45DEB-05F4-B56D-2261-84167E30F330}"/>
          </ac:spMkLst>
        </pc:spChg>
        <pc:spChg chg="mod">
          <ac:chgData name="Carroll, Tyler" userId="69b673a0-6af4-4d8a-830b-550d1bbab5f8" providerId="ADAL" clId="{FA54304C-E424-4A4A-81D9-ABDA7518D7DD}" dt="2023-01-04T18:44:14.096" v="12639" actId="6549"/>
          <ac:spMkLst>
            <pc:docMk/>
            <pc:sldMk cId="248594990" sldId="2147377163"/>
            <ac:spMk id="14" creationId="{ABFAB664-4E07-72F0-7D21-D5BD26B7D8A0}"/>
          </ac:spMkLst>
        </pc:spChg>
        <pc:spChg chg="mod">
          <ac:chgData name="Carroll, Tyler" userId="69b673a0-6af4-4d8a-830b-550d1bbab5f8" providerId="ADAL" clId="{FA54304C-E424-4A4A-81D9-ABDA7518D7DD}" dt="2023-01-03T22:05:17.431" v="8939" actId="1035"/>
          <ac:spMkLst>
            <pc:docMk/>
            <pc:sldMk cId="248594990" sldId="2147377163"/>
            <ac:spMk id="15" creationId="{15DF8C8B-E5EA-FAC1-66E3-E75637A588D2}"/>
          </ac:spMkLst>
        </pc:spChg>
        <pc:spChg chg="mod">
          <ac:chgData name="Carroll, Tyler" userId="69b673a0-6af4-4d8a-830b-550d1bbab5f8" providerId="ADAL" clId="{FA54304C-E424-4A4A-81D9-ABDA7518D7DD}" dt="2023-01-04T18:44:10.680" v="12638" actId="6549"/>
          <ac:spMkLst>
            <pc:docMk/>
            <pc:sldMk cId="248594990" sldId="2147377163"/>
            <ac:spMk id="17" creationId="{96FC1F6C-FD69-D969-B3DD-18EDCA0253A4}"/>
          </ac:spMkLst>
        </pc:spChg>
        <pc:spChg chg="mod">
          <ac:chgData name="Carroll, Tyler" userId="69b673a0-6af4-4d8a-830b-550d1bbab5f8" providerId="ADAL" clId="{FA54304C-E424-4A4A-81D9-ABDA7518D7DD}" dt="2023-01-03T21:55:29.223" v="8889" actId="2711"/>
          <ac:spMkLst>
            <pc:docMk/>
            <pc:sldMk cId="248594990" sldId="2147377163"/>
            <ac:spMk id="19" creationId="{7F5A9784-57E0-B847-65AD-6C50409AC807}"/>
          </ac:spMkLst>
        </pc:spChg>
        <pc:grpChg chg="mod ord">
          <ac:chgData name="Carroll, Tyler" userId="69b673a0-6af4-4d8a-830b-550d1bbab5f8" providerId="ADAL" clId="{FA54304C-E424-4A4A-81D9-ABDA7518D7DD}" dt="2023-01-03T22:04:31.961" v="8916"/>
          <ac:grpSpMkLst>
            <pc:docMk/>
            <pc:sldMk cId="248594990" sldId="2147377163"/>
            <ac:grpSpMk id="20" creationId="{7A498768-5F61-24AE-37E2-E1B9FDF0AD41}"/>
          </ac:grpSpMkLst>
        </pc:grpChg>
        <pc:graphicFrameChg chg="mod">
          <ac:chgData name="Carroll, Tyler" userId="69b673a0-6af4-4d8a-830b-550d1bbab5f8" providerId="ADAL" clId="{FA54304C-E424-4A4A-81D9-ABDA7518D7DD}" dt="2023-01-04T18:44:05.651" v="12637" actId="20577"/>
          <ac:graphicFrameMkLst>
            <pc:docMk/>
            <pc:sldMk cId="248594990" sldId="2147377163"/>
            <ac:graphicFrameMk id="3" creationId="{ED47854F-CECE-EA49-17B5-67E58E2D85CA}"/>
          </ac:graphicFrameMkLst>
        </pc:graphicFrameChg>
        <pc:graphicFrameChg chg="mod">
          <ac:chgData name="Carroll, Tyler" userId="69b673a0-6af4-4d8a-830b-550d1bbab5f8" providerId="ADAL" clId="{FA54304C-E424-4A4A-81D9-ABDA7518D7DD}" dt="2023-01-04T17:58:39.628" v="11635"/>
          <ac:graphicFrameMkLst>
            <pc:docMk/>
            <pc:sldMk cId="248594990" sldId="2147377163"/>
            <ac:graphicFrameMk id="10" creationId="{0EA29452-1D63-0C2D-8C74-01A7AD89C458}"/>
          </ac:graphicFrameMkLst>
        </pc:graphicFrameChg>
        <pc:picChg chg="del">
          <ac:chgData name="Carroll, Tyler" userId="69b673a0-6af4-4d8a-830b-550d1bbab5f8" providerId="ADAL" clId="{FA54304C-E424-4A4A-81D9-ABDA7518D7DD}" dt="2023-01-03T17:54:31.316" v="3536" actId="478"/>
          <ac:picMkLst>
            <pc:docMk/>
            <pc:sldMk cId="248594990" sldId="2147377163"/>
            <ac:picMk id="2" creationId="{72B18E01-6B15-26C2-7C49-C401CD1ECF55}"/>
          </ac:picMkLst>
        </pc:picChg>
      </pc:sldChg>
      <pc:sldChg chg="del">
        <pc:chgData name="Carroll, Tyler" userId="69b673a0-6af4-4d8a-830b-550d1bbab5f8" providerId="ADAL" clId="{FA54304C-E424-4A4A-81D9-ABDA7518D7DD}" dt="2023-01-03T17:49:56.799" v="3398" actId="47"/>
        <pc:sldMkLst>
          <pc:docMk/>
          <pc:sldMk cId="4268010218" sldId="2147377164"/>
        </pc:sldMkLst>
      </pc:sldChg>
      <pc:sldChg chg="addSp delSp modSp mod">
        <pc:chgData name="Carroll, Tyler" userId="69b673a0-6af4-4d8a-830b-550d1bbab5f8" providerId="ADAL" clId="{FA54304C-E424-4A4A-81D9-ABDA7518D7DD}" dt="2023-01-05T11:35:37.679" v="13248"/>
        <pc:sldMkLst>
          <pc:docMk/>
          <pc:sldMk cId="1775733382" sldId="2147377165"/>
        </pc:sldMkLst>
        <pc:spChg chg="add del mod modVis">
          <ac:chgData name="Carroll, Tyler" userId="69b673a0-6af4-4d8a-830b-550d1bbab5f8" providerId="ADAL" clId="{FA54304C-E424-4A4A-81D9-ABDA7518D7DD}" dt="2023-01-03T22:12:57.738" v="9399"/>
          <ac:spMkLst>
            <pc:docMk/>
            <pc:sldMk cId="1775733382" sldId="2147377165"/>
            <ac:spMk id="2" creationId="{03207D1C-5843-ED2C-2A70-485871C950E0}"/>
          </ac:spMkLst>
        </pc:spChg>
        <pc:spChg chg="del">
          <ac:chgData name="Carroll, Tyler" userId="69b673a0-6af4-4d8a-830b-550d1bbab5f8" providerId="ADAL" clId="{FA54304C-E424-4A4A-81D9-ABDA7518D7DD}" dt="2023-01-03T20:03:35.335" v="6505" actId="478"/>
          <ac:spMkLst>
            <pc:docMk/>
            <pc:sldMk cId="1775733382" sldId="2147377165"/>
            <ac:spMk id="2" creationId="{C13DFE1E-A3EB-C5BC-4C2E-9018C78C2CE0}"/>
          </ac:spMkLst>
        </pc:spChg>
        <pc:spChg chg="add del mod modVis">
          <ac:chgData name="Carroll, Tyler" userId="69b673a0-6af4-4d8a-830b-550d1bbab5f8" providerId="ADAL" clId="{FA54304C-E424-4A4A-81D9-ABDA7518D7DD}" dt="2023-01-05T11:35:37.679" v="13246"/>
          <ac:spMkLst>
            <pc:docMk/>
            <pc:sldMk cId="1775733382" sldId="2147377165"/>
            <ac:spMk id="2" creationId="{D642329D-8690-CB00-DEB1-A66EA6BDF3C0}"/>
          </ac:spMkLst>
        </pc:spChg>
        <pc:spChg chg="mod">
          <ac:chgData name="Carroll, Tyler" userId="69b673a0-6af4-4d8a-830b-550d1bbab5f8" providerId="ADAL" clId="{FA54304C-E424-4A4A-81D9-ABDA7518D7DD}" dt="2023-01-04T18:08:21.353" v="11848" actId="2711"/>
          <ac:spMkLst>
            <pc:docMk/>
            <pc:sldMk cId="1775733382" sldId="2147377165"/>
            <ac:spMk id="3" creationId="{29B5CDC5-1424-4C38-8B02-8F278252DE39}"/>
          </ac:spMkLst>
        </pc:spChg>
        <pc:spChg chg="add del mod modVis">
          <ac:chgData name="Carroll, Tyler" userId="69b673a0-6af4-4d8a-830b-550d1bbab5f8" providerId="ADAL" clId="{FA54304C-E424-4A4A-81D9-ABDA7518D7DD}" dt="2023-01-03T22:12:59.865" v="9444"/>
          <ac:spMkLst>
            <pc:docMk/>
            <pc:sldMk cId="1775733382" sldId="2147377165"/>
            <ac:spMk id="6" creationId="{8AF97C1C-8B8D-170C-1A96-02CC3DD65280}"/>
          </ac:spMkLst>
        </pc:spChg>
        <pc:spChg chg="add del mod modVis">
          <ac:chgData name="Carroll, Tyler" userId="69b673a0-6af4-4d8a-830b-550d1bbab5f8" providerId="ADAL" clId="{FA54304C-E424-4A4A-81D9-ABDA7518D7DD}" dt="2023-01-03T17:29:54.812" v="2848"/>
          <ac:spMkLst>
            <pc:docMk/>
            <pc:sldMk cId="1775733382" sldId="2147377165"/>
            <ac:spMk id="6" creationId="{B8C25195-627D-F4F7-DA2F-FA948E5EADD1}"/>
          </ac:spMkLst>
        </pc:spChg>
        <pc:spChg chg="mod">
          <ac:chgData name="Carroll, Tyler" userId="69b673a0-6af4-4d8a-830b-550d1bbab5f8" providerId="ADAL" clId="{FA54304C-E424-4A4A-81D9-ABDA7518D7DD}" dt="2023-01-05T11:35:37.647" v="13205" actId="948"/>
          <ac:spMkLst>
            <pc:docMk/>
            <pc:sldMk cId="1775733382" sldId="2147377165"/>
            <ac:spMk id="24" creationId="{484386E8-48A6-4030-A8D5-7C089E4350F2}"/>
          </ac:spMkLst>
        </pc:spChg>
        <pc:graphicFrameChg chg="mod">
          <ac:chgData name="Carroll, Tyler" userId="69b673a0-6af4-4d8a-830b-550d1bbab5f8" providerId="ADAL" clId="{FA54304C-E424-4A4A-81D9-ABDA7518D7DD}" dt="2023-01-05T11:35:37.679" v="13248"/>
          <ac:graphicFrameMkLst>
            <pc:docMk/>
            <pc:sldMk cId="1775733382" sldId="2147377165"/>
            <ac:graphicFrameMk id="5" creationId="{EBBF01A9-6FA8-514B-E908-D2602B740E0B}"/>
          </ac:graphicFrameMkLst>
        </pc:graphicFrameChg>
      </pc:sldChg>
      <pc:sldChg chg="addSp delSp modSp del mod">
        <pc:chgData name="Carroll, Tyler" userId="69b673a0-6af4-4d8a-830b-550d1bbab5f8" providerId="ADAL" clId="{FA54304C-E424-4A4A-81D9-ABDA7518D7DD}" dt="2023-01-03T17:49:56.799" v="3398" actId="47"/>
        <pc:sldMkLst>
          <pc:docMk/>
          <pc:sldMk cId="3988944511" sldId="2147377166"/>
        </pc:sldMkLst>
        <pc:spChg chg="add del mod modVis">
          <ac:chgData name="Carroll, Tyler" userId="69b673a0-6af4-4d8a-830b-550d1bbab5f8" providerId="ADAL" clId="{FA54304C-E424-4A4A-81D9-ABDA7518D7DD}" dt="2023-01-03T17:29:54.817" v="2856"/>
          <ac:spMkLst>
            <pc:docMk/>
            <pc:sldMk cId="3988944511" sldId="2147377166"/>
            <ac:spMk id="5" creationId="{2FA32EAB-0BE4-CE1D-E5F9-3A8E003A5950}"/>
          </ac:spMkLst>
        </pc:spChg>
        <pc:spChg chg="mod">
          <ac:chgData name="Carroll, Tyler" userId="69b673a0-6af4-4d8a-830b-550d1bbab5f8" providerId="ADAL" clId="{FA54304C-E424-4A4A-81D9-ABDA7518D7DD}" dt="2023-01-03T17:29:54.432" v="2351" actId="948"/>
          <ac:spMkLst>
            <pc:docMk/>
            <pc:sldMk cId="3988944511" sldId="2147377166"/>
            <ac:spMk id="8" creationId="{658B3A2B-AAD7-BB17-9E7A-EEE42118211C}"/>
          </ac:spMkLst>
        </pc:spChg>
        <pc:graphicFrameChg chg="mod">
          <ac:chgData name="Carroll, Tyler" userId="69b673a0-6af4-4d8a-830b-550d1bbab5f8" providerId="ADAL" clId="{FA54304C-E424-4A4A-81D9-ABDA7518D7DD}" dt="2023-01-03T17:29:54.819" v="2858"/>
          <ac:graphicFrameMkLst>
            <pc:docMk/>
            <pc:sldMk cId="3988944511" sldId="2147377166"/>
            <ac:graphicFrameMk id="9" creationId="{85FD8D94-DA0D-CC58-AC3F-620E024CA2A1}"/>
          </ac:graphicFrameMkLst>
        </pc:graphicFrameChg>
      </pc:sldChg>
      <pc:sldChg chg="addSp delSp modSp mod setBg">
        <pc:chgData name="Carroll, Tyler" userId="69b673a0-6af4-4d8a-830b-550d1bbab5f8" providerId="ADAL" clId="{FA54304C-E424-4A4A-81D9-ABDA7518D7DD}" dt="2023-01-05T11:36:00.746" v="13338"/>
        <pc:sldMkLst>
          <pc:docMk/>
          <pc:sldMk cId="2945115355" sldId="2147377167"/>
        </pc:sldMkLst>
        <pc:spChg chg="mod">
          <ac:chgData name="Carroll, Tyler" userId="69b673a0-6af4-4d8a-830b-550d1bbab5f8" providerId="ADAL" clId="{FA54304C-E424-4A4A-81D9-ABDA7518D7DD}" dt="2023-01-05T11:36:00.690" v="13295" actId="948"/>
          <ac:spMkLst>
            <pc:docMk/>
            <pc:sldMk cId="2945115355" sldId="2147377167"/>
            <ac:spMk id="2" creationId="{370F2107-EC28-4E55-BAC5-2C3F9B5A6937}"/>
          </ac:spMkLst>
        </pc:spChg>
        <pc:spChg chg="add del mod modVis">
          <ac:chgData name="Carroll, Tyler" userId="69b673a0-6af4-4d8a-830b-550d1bbab5f8" providerId="ADAL" clId="{FA54304C-E424-4A4A-81D9-ABDA7518D7DD}" dt="2023-01-03T22:13:08.551" v="9579"/>
          <ac:spMkLst>
            <pc:docMk/>
            <pc:sldMk cId="2945115355" sldId="2147377167"/>
            <ac:spMk id="3" creationId="{9B760348-FFC7-6BEF-4D83-26DCC744127D}"/>
          </ac:spMkLst>
        </pc:spChg>
        <pc:spChg chg="add del mod modVis">
          <ac:chgData name="Carroll, Tyler" userId="69b673a0-6af4-4d8a-830b-550d1bbab5f8" providerId="ADAL" clId="{FA54304C-E424-4A4A-81D9-ABDA7518D7DD}" dt="2023-01-05T11:36:00.746" v="13336"/>
          <ac:spMkLst>
            <pc:docMk/>
            <pc:sldMk cId="2945115355" sldId="2147377167"/>
            <ac:spMk id="3" creationId="{F18AE9CE-00AC-666C-D5CB-A8D937E3B930}"/>
          </ac:spMkLst>
        </pc:spChg>
        <pc:spChg chg="mod">
          <ac:chgData name="Carroll, Tyler" userId="69b673a0-6af4-4d8a-830b-550d1bbab5f8" providerId="ADAL" clId="{FA54304C-E424-4A4A-81D9-ABDA7518D7DD}" dt="2023-01-04T17:59:39.838" v="11641"/>
          <ac:spMkLst>
            <pc:docMk/>
            <pc:sldMk cId="2945115355" sldId="2147377167"/>
            <ac:spMk id="4" creationId="{758EF9AA-ECF3-43F0-ADE1-4F5C5FDB7F29}"/>
          </ac:spMkLst>
        </pc:spChg>
        <pc:spChg chg="mod">
          <ac:chgData name="Carroll, Tyler" userId="69b673a0-6af4-4d8a-830b-550d1bbab5f8" providerId="ADAL" clId="{FA54304C-E424-4A4A-81D9-ABDA7518D7DD}" dt="2023-01-04T18:08:37.993" v="11850" actId="2711"/>
          <ac:spMkLst>
            <pc:docMk/>
            <pc:sldMk cId="2945115355" sldId="2147377167"/>
            <ac:spMk id="6" creationId="{BA41DDCF-60B5-457F-A72D-54CF8942B917}"/>
          </ac:spMkLst>
        </pc:spChg>
        <pc:spChg chg="add del mod modVis">
          <ac:chgData name="Carroll, Tyler" userId="69b673a0-6af4-4d8a-830b-550d1bbab5f8" providerId="ADAL" clId="{FA54304C-E424-4A4A-81D9-ABDA7518D7DD}" dt="2023-01-04T17:59:40.425" v="11683"/>
          <ac:spMkLst>
            <pc:docMk/>
            <pc:sldMk cId="2945115355" sldId="2147377167"/>
            <ac:spMk id="7" creationId="{5DCDEF69-A5F0-25BC-D2D5-20F420344D7F}"/>
          </ac:spMkLst>
        </pc:spChg>
        <pc:spChg chg="del">
          <ac:chgData name="Carroll, Tyler" userId="69b673a0-6af4-4d8a-830b-550d1bbab5f8" providerId="ADAL" clId="{FA54304C-E424-4A4A-81D9-ABDA7518D7DD}" dt="2023-01-03T20:03:43.060" v="6507" actId="478"/>
          <ac:spMkLst>
            <pc:docMk/>
            <pc:sldMk cId="2945115355" sldId="2147377167"/>
            <ac:spMk id="7" creationId="{A50473E6-D747-4F7D-EE4D-71A450FC78C9}"/>
          </ac:spMkLst>
        </pc:spChg>
        <pc:graphicFrameChg chg="mod">
          <ac:chgData name="Carroll, Tyler" userId="69b673a0-6af4-4d8a-830b-550d1bbab5f8" providerId="ADAL" clId="{FA54304C-E424-4A4A-81D9-ABDA7518D7DD}" dt="2023-01-05T11:36:00.746" v="13338"/>
          <ac:graphicFrameMkLst>
            <pc:docMk/>
            <pc:sldMk cId="2945115355" sldId="2147377167"/>
            <ac:graphicFrameMk id="5" creationId="{23EF3A8D-2C05-D808-10DE-465CFBC26E0B}"/>
          </ac:graphicFrameMkLst>
        </pc:graphicFrameChg>
      </pc:sldChg>
      <pc:sldChg chg="addSp delSp modSp del mod">
        <pc:chgData name="Carroll, Tyler" userId="69b673a0-6af4-4d8a-830b-550d1bbab5f8" providerId="ADAL" clId="{FA54304C-E424-4A4A-81D9-ABDA7518D7DD}" dt="2023-01-03T17:49:56.799" v="3398" actId="47"/>
        <pc:sldMkLst>
          <pc:docMk/>
          <pc:sldMk cId="3157222258" sldId="2147377169"/>
        </pc:sldMkLst>
        <pc:spChg chg="add del mod modVis">
          <ac:chgData name="Carroll, Tyler" userId="69b673a0-6af4-4d8a-830b-550d1bbab5f8" providerId="ADAL" clId="{FA54304C-E424-4A4A-81D9-ABDA7518D7DD}" dt="2023-01-03T17:29:54.844" v="2892"/>
          <ac:spMkLst>
            <pc:docMk/>
            <pc:sldMk cId="3157222258" sldId="2147377169"/>
            <ac:spMk id="2" creationId="{8007D736-97CA-714B-D01A-CFDD2CAE36EC}"/>
          </ac:spMkLst>
        </pc:spChg>
        <pc:spChg chg="mod">
          <ac:chgData name="Carroll, Tyler" userId="69b673a0-6af4-4d8a-830b-550d1bbab5f8" providerId="ADAL" clId="{FA54304C-E424-4A4A-81D9-ABDA7518D7DD}" dt="2023-01-03T17:29:54.707" v="2693" actId="948"/>
          <ac:spMkLst>
            <pc:docMk/>
            <pc:sldMk cId="3157222258" sldId="2147377169"/>
            <ac:spMk id="3" creationId="{42420021-C4B9-4BEC-B0DC-007E9052F9F5}"/>
          </ac:spMkLst>
        </pc:spChg>
        <pc:spChg chg="mod">
          <ac:chgData name="Carroll, Tyler" userId="69b673a0-6af4-4d8a-830b-550d1bbab5f8" providerId="ADAL" clId="{FA54304C-E424-4A4A-81D9-ABDA7518D7DD}" dt="2023-01-03T17:29:53.791" v="2274"/>
          <ac:spMkLst>
            <pc:docMk/>
            <pc:sldMk cId="3157222258" sldId="2147377169"/>
            <ac:spMk id="4" creationId="{C6524CEA-9BF5-468B-A203-D9C7664CB49F}"/>
          </ac:spMkLst>
        </pc:spChg>
        <pc:spChg chg="mod">
          <ac:chgData name="Carroll, Tyler" userId="69b673a0-6af4-4d8a-830b-550d1bbab5f8" providerId="ADAL" clId="{FA54304C-E424-4A4A-81D9-ABDA7518D7DD}" dt="2023-01-03T17:29:53.791" v="2274"/>
          <ac:spMkLst>
            <pc:docMk/>
            <pc:sldMk cId="3157222258" sldId="2147377169"/>
            <ac:spMk id="5" creationId="{0217BA43-2843-4F2B-8234-4E1D5013B5E0}"/>
          </ac:spMkLst>
        </pc:spChg>
        <pc:graphicFrameChg chg="mod">
          <ac:chgData name="Carroll, Tyler" userId="69b673a0-6af4-4d8a-830b-550d1bbab5f8" providerId="ADAL" clId="{FA54304C-E424-4A4A-81D9-ABDA7518D7DD}" dt="2023-01-03T17:29:54.846" v="2894"/>
          <ac:graphicFrameMkLst>
            <pc:docMk/>
            <pc:sldMk cId="3157222258" sldId="2147377169"/>
            <ac:graphicFrameMk id="7" creationId="{6D486531-5CAB-2F6B-CE5D-92018201EC96}"/>
          </ac:graphicFrameMkLst>
        </pc:graphicFrameChg>
      </pc:sldChg>
      <pc:sldChg chg="del">
        <pc:chgData name="Carroll, Tyler" userId="69b673a0-6af4-4d8a-830b-550d1bbab5f8" providerId="ADAL" clId="{FA54304C-E424-4A4A-81D9-ABDA7518D7DD}" dt="2023-01-03T17:49:56.799" v="3398" actId="47"/>
        <pc:sldMkLst>
          <pc:docMk/>
          <pc:sldMk cId="2659895152" sldId="2147377170"/>
        </pc:sldMkLst>
      </pc:sldChg>
      <pc:sldChg chg="addSp delSp modSp mod">
        <pc:chgData name="Carroll, Tyler" userId="69b673a0-6af4-4d8a-830b-550d1bbab5f8" providerId="ADAL" clId="{FA54304C-E424-4A4A-81D9-ABDA7518D7DD}" dt="2023-01-04T18:08:47.811" v="11852" actId="2711"/>
        <pc:sldMkLst>
          <pc:docMk/>
          <pc:sldMk cId="718117989" sldId="2147377171"/>
        </pc:sldMkLst>
        <pc:spChg chg="add del mod modVis">
          <ac:chgData name="Carroll, Tyler" userId="69b673a0-6af4-4d8a-830b-550d1bbab5f8" providerId="ADAL" clId="{FA54304C-E424-4A4A-81D9-ABDA7518D7DD}" dt="2023-01-03T22:13:19.558" v="9669"/>
          <ac:spMkLst>
            <pc:docMk/>
            <pc:sldMk cId="718117989" sldId="2147377171"/>
            <ac:spMk id="2" creationId="{04F2C4E5-A746-FEC8-D4BB-9CE0D0A3D074}"/>
          </ac:spMkLst>
        </pc:spChg>
        <pc:spChg chg="del">
          <ac:chgData name="Carroll, Tyler" userId="69b673a0-6af4-4d8a-830b-550d1bbab5f8" providerId="ADAL" clId="{FA54304C-E424-4A4A-81D9-ABDA7518D7DD}" dt="2023-01-03T20:05:15.586" v="6509" actId="478"/>
          <ac:spMkLst>
            <pc:docMk/>
            <pc:sldMk cId="718117989" sldId="2147377171"/>
            <ac:spMk id="2" creationId="{39B430BD-9381-F915-CF0B-DA2D5208313D}"/>
          </ac:spMkLst>
        </pc:spChg>
        <pc:spChg chg="mod">
          <ac:chgData name="Carroll, Tyler" userId="69b673a0-6af4-4d8a-830b-550d1bbab5f8" providerId="ADAL" clId="{FA54304C-E424-4A4A-81D9-ABDA7518D7DD}" dt="2023-01-03T22:13:21.432" v="9673" actId="948"/>
          <ac:spMkLst>
            <pc:docMk/>
            <pc:sldMk cId="718117989" sldId="2147377171"/>
            <ac:spMk id="3" creationId="{98A7FF60-63D7-46A3-B148-F8BA20087FE5}"/>
          </ac:spMkLst>
        </pc:spChg>
        <pc:spChg chg="mod">
          <ac:chgData name="Carroll, Tyler" userId="69b673a0-6af4-4d8a-830b-550d1bbab5f8" providerId="ADAL" clId="{FA54304C-E424-4A4A-81D9-ABDA7518D7DD}" dt="2023-01-04T18:08:47.811" v="11852" actId="2711"/>
          <ac:spMkLst>
            <pc:docMk/>
            <pc:sldMk cId="718117989" sldId="2147377171"/>
            <ac:spMk id="5" creationId="{3F5693F2-5705-4513-9A8C-8F612E7CD72E}"/>
          </ac:spMkLst>
        </pc:spChg>
        <pc:spChg chg="add del mod modVis">
          <ac:chgData name="Carroll, Tyler" userId="69b673a0-6af4-4d8a-830b-550d1bbab5f8" providerId="ADAL" clId="{FA54304C-E424-4A4A-81D9-ABDA7518D7DD}" dt="2023-01-03T22:13:21.464" v="9714"/>
          <ac:spMkLst>
            <pc:docMk/>
            <pc:sldMk cId="718117989" sldId="2147377171"/>
            <ac:spMk id="7" creationId="{E02F2F70-9BF1-55B7-D878-60A22F38EBAF}"/>
          </ac:spMkLst>
        </pc:spChg>
        <pc:spChg chg="add del mod modVis">
          <ac:chgData name="Carroll, Tyler" userId="69b673a0-6af4-4d8a-830b-550d1bbab5f8" providerId="ADAL" clId="{FA54304C-E424-4A4A-81D9-ABDA7518D7DD}" dt="2023-01-03T17:29:54.815" v="2852"/>
          <ac:spMkLst>
            <pc:docMk/>
            <pc:sldMk cId="718117989" sldId="2147377171"/>
            <ac:spMk id="11" creationId="{A7B788A2-AD72-69BE-CEF1-92B9E2F768BF}"/>
          </ac:spMkLst>
        </pc:spChg>
        <pc:graphicFrameChg chg="modGraphic">
          <ac:chgData name="Carroll, Tyler" userId="69b673a0-6af4-4d8a-830b-550d1bbab5f8" providerId="ADAL" clId="{FA54304C-E424-4A4A-81D9-ABDA7518D7DD}" dt="2023-01-03T16:59:14.778" v="70" actId="207"/>
          <ac:graphicFrameMkLst>
            <pc:docMk/>
            <pc:sldMk cId="718117989" sldId="2147377171"/>
            <ac:graphicFrameMk id="6" creationId="{855AC827-0948-4B95-B6BF-4F65130ED537}"/>
          </ac:graphicFrameMkLst>
        </pc:graphicFrameChg>
        <pc:graphicFrameChg chg="mod">
          <ac:chgData name="Carroll, Tyler" userId="69b673a0-6af4-4d8a-830b-550d1bbab5f8" providerId="ADAL" clId="{FA54304C-E424-4A4A-81D9-ABDA7518D7DD}" dt="2023-01-03T22:13:21.466" v="9716"/>
          <ac:graphicFrameMkLst>
            <pc:docMk/>
            <pc:sldMk cId="718117989" sldId="2147377171"/>
            <ac:graphicFrameMk id="8" creationId="{AFB37155-22B7-4716-3DBD-D71E6C384456}"/>
          </ac:graphicFrameMkLst>
        </pc:graphicFrameChg>
        <pc:picChg chg="del">
          <ac:chgData name="Carroll, Tyler" userId="69b673a0-6af4-4d8a-830b-550d1bbab5f8" providerId="ADAL" clId="{FA54304C-E424-4A4A-81D9-ABDA7518D7DD}" dt="2023-01-03T17:54:16.197" v="3530" actId="478"/>
          <ac:picMkLst>
            <pc:docMk/>
            <pc:sldMk cId="718117989" sldId="2147377171"/>
            <ac:picMk id="13" creationId="{0985C04A-0F93-2FE0-95CA-1EC32E72C66E}"/>
          </ac:picMkLst>
        </pc:picChg>
      </pc:sldChg>
      <pc:sldChg chg="del">
        <pc:chgData name="Carroll, Tyler" userId="69b673a0-6af4-4d8a-830b-550d1bbab5f8" providerId="ADAL" clId="{FA54304C-E424-4A4A-81D9-ABDA7518D7DD}" dt="2023-01-03T17:49:56.799" v="3398" actId="47"/>
        <pc:sldMkLst>
          <pc:docMk/>
          <pc:sldMk cId="1483610703" sldId="2147377172"/>
        </pc:sldMkLst>
      </pc:sldChg>
      <pc:sldChg chg="del">
        <pc:chgData name="Carroll, Tyler" userId="69b673a0-6af4-4d8a-830b-550d1bbab5f8" providerId="ADAL" clId="{FA54304C-E424-4A4A-81D9-ABDA7518D7DD}" dt="2023-01-03T17:49:56.799" v="3398" actId="47"/>
        <pc:sldMkLst>
          <pc:docMk/>
          <pc:sldMk cId="885809156" sldId="2147377173"/>
        </pc:sldMkLst>
      </pc:sldChg>
      <pc:sldChg chg="addSp delSp modSp del mod ord">
        <pc:chgData name="Carroll, Tyler" userId="69b673a0-6af4-4d8a-830b-550d1bbab5f8" providerId="ADAL" clId="{FA54304C-E424-4A4A-81D9-ABDA7518D7DD}" dt="2023-01-03T17:48:59.042" v="3367" actId="47"/>
        <pc:sldMkLst>
          <pc:docMk/>
          <pc:sldMk cId="488426579" sldId="2147377174"/>
        </pc:sldMkLst>
        <pc:spChg chg="mod">
          <ac:chgData name="Carroll, Tyler" userId="69b673a0-6af4-4d8a-830b-550d1bbab5f8" providerId="ADAL" clId="{FA54304C-E424-4A4A-81D9-ABDA7518D7DD}" dt="2023-01-03T17:14:26.647" v="378" actId="948"/>
          <ac:spMkLst>
            <pc:docMk/>
            <pc:sldMk cId="488426579" sldId="2147377174"/>
            <ac:spMk id="6" creationId="{4B078C00-9138-19AA-98E5-252B380A6A36}"/>
          </ac:spMkLst>
        </pc:spChg>
        <pc:spChg chg="add del mod modVis">
          <ac:chgData name="Carroll, Tyler" userId="69b673a0-6af4-4d8a-830b-550d1bbab5f8" providerId="ADAL" clId="{FA54304C-E424-4A4A-81D9-ABDA7518D7DD}" dt="2023-01-03T17:14:22.193" v="271"/>
          <ac:spMkLst>
            <pc:docMk/>
            <pc:sldMk cId="488426579" sldId="2147377174"/>
            <ac:spMk id="11" creationId="{AE6C567E-FFD3-FD04-05F2-C2873F635C72}"/>
          </ac:spMkLst>
        </pc:spChg>
        <pc:spChg chg="add del mod modVis">
          <ac:chgData name="Carroll, Tyler" userId="69b673a0-6af4-4d8a-830b-550d1bbab5f8" providerId="ADAL" clId="{FA54304C-E424-4A4A-81D9-ABDA7518D7DD}" dt="2023-01-03T17:14:23.064" v="320"/>
          <ac:spMkLst>
            <pc:docMk/>
            <pc:sldMk cId="488426579" sldId="2147377174"/>
            <ac:spMk id="12" creationId="{B43C8305-53DA-E9A1-E745-BBC83BA8E76D}"/>
          </ac:spMkLst>
        </pc:spChg>
        <pc:spChg chg="add del mod modVis">
          <ac:chgData name="Carroll, Tyler" userId="69b673a0-6af4-4d8a-830b-550d1bbab5f8" providerId="ADAL" clId="{FA54304C-E424-4A4A-81D9-ABDA7518D7DD}" dt="2023-01-03T17:14:25.188" v="371"/>
          <ac:spMkLst>
            <pc:docMk/>
            <pc:sldMk cId="488426579" sldId="2147377174"/>
            <ac:spMk id="13" creationId="{B857CA8B-C858-69E2-0EE3-1D0D6C02EBA4}"/>
          </ac:spMkLst>
        </pc:spChg>
        <pc:spChg chg="add del mod modVis">
          <ac:chgData name="Carroll, Tyler" userId="69b673a0-6af4-4d8a-830b-550d1bbab5f8" providerId="ADAL" clId="{FA54304C-E424-4A4A-81D9-ABDA7518D7DD}" dt="2023-01-03T17:14:26.681" v="419"/>
          <ac:spMkLst>
            <pc:docMk/>
            <pc:sldMk cId="488426579" sldId="2147377174"/>
            <ac:spMk id="14" creationId="{F14F8592-8253-4401-58E1-312CBDE74513}"/>
          </ac:spMkLst>
        </pc:spChg>
        <pc:graphicFrameChg chg="mod">
          <ac:chgData name="Carroll, Tyler" userId="69b673a0-6af4-4d8a-830b-550d1bbab5f8" providerId="ADAL" clId="{FA54304C-E424-4A4A-81D9-ABDA7518D7DD}" dt="2023-01-03T17:14:26.683" v="421"/>
          <ac:graphicFrameMkLst>
            <pc:docMk/>
            <pc:sldMk cId="488426579" sldId="2147377174"/>
            <ac:graphicFrameMk id="9" creationId="{40404221-BF4A-BEF1-AEF0-79DC9C77A2AA}"/>
          </ac:graphicFrameMkLst>
        </pc:graphicFrameChg>
      </pc:sldChg>
      <pc:sldChg chg="del">
        <pc:chgData name="Carroll, Tyler" userId="69b673a0-6af4-4d8a-830b-550d1bbab5f8" providerId="ADAL" clId="{FA54304C-E424-4A4A-81D9-ABDA7518D7DD}" dt="2023-01-03T17:49:56.799" v="3398" actId="47"/>
        <pc:sldMkLst>
          <pc:docMk/>
          <pc:sldMk cId="3855703814" sldId="2147377175"/>
        </pc:sldMkLst>
      </pc:sldChg>
      <pc:sldChg chg="addSp delSp modSp mod setBg">
        <pc:chgData name="Carroll, Tyler" userId="69b673a0-6af4-4d8a-830b-550d1bbab5f8" providerId="ADAL" clId="{FA54304C-E424-4A4A-81D9-ABDA7518D7DD}" dt="2023-01-05T11:35:19.168" v="13113"/>
        <pc:sldMkLst>
          <pc:docMk/>
          <pc:sldMk cId="958965548" sldId="2147377176"/>
        </pc:sldMkLst>
        <pc:spChg chg="add del mod modVis">
          <ac:chgData name="Carroll, Tyler" userId="69b673a0-6af4-4d8a-830b-550d1bbab5f8" providerId="ADAL" clId="{FA54304C-E424-4A4A-81D9-ABDA7518D7DD}" dt="2023-01-05T11:35:19.150" v="13111"/>
          <ac:spMkLst>
            <pc:docMk/>
            <pc:sldMk cId="958965548" sldId="2147377176"/>
            <ac:spMk id="2" creationId="{5E26A8F5-B29A-B72F-895A-501835F15208}"/>
          </ac:spMkLst>
        </pc:spChg>
        <pc:spChg chg="add del mod modVis">
          <ac:chgData name="Carroll, Tyler" userId="69b673a0-6af4-4d8a-830b-550d1bbab5f8" providerId="ADAL" clId="{FA54304C-E424-4A4A-81D9-ABDA7518D7DD}" dt="2023-01-03T21:51:29.586" v="8885"/>
          <ac:spMkLst>
            <pc:docMk/>
            <pc:sldMk cId="958965548" sldId="2147377176"/>
            <ac:spMk id="2" creationId="{6C95D7D0-BF62-A5F4-998C-A16877983CF7}"/>
          </ac:spMkLst>
        </pc:spChg>
        <pc:spChg chg="mod">
          <ac:chgData name="Carroll, Tyler" userId="69b673a0-6af4-4d8a-830b-550d1bbab5f8" providerId="ADAL" clId="{FA54304C-E424-4A4A-81D9-ABDA7518D7DD}" dt="2023-01-04T18:08:10.990" v="11846" actId="2711"/>
          <ac:spMkLst>
            <pc:docMk/>
            <pc:sldMk cId="958965548" sldId="2147377176"/>
            <ac:spMk id="3" creationId="{29B5CDC5-1424-4C38-8B02-8F278252DE39}"/>
          </ac:spMkLst>
        </pc:spChg>
        <pc:spChg chg="add del mod modVis">
          <ac:chgData name="Carroll, Tyler" userId="69b673a0-6af4-4d8a-830b-550d1bbab5f8" providerId="ADAL" clId="{FA54304C-E424-4A4A-81D9-ABDA7518D7DD}" dt="2023-01-03T22:12:48.148" v="9264"/>
          <ac:spMkLst>
            <pc:docMk/>
            <pc:sldMk cId="958965548" sldId="2147377176"/>
            <ac:spMk id="6" creationId="{C8CC5E13-8675-BB0C-6B9F-117F3813621E}"/>
          </ac:spMkLst>
        </pc:spChg>
        <pc:spChg chg="del">
          <ac:chgData name="Carroll, Tyler" userId="69b673a0-6af4-4d8a-830b-550d1bbab5f8" providerId="ADAL" clId="{FA54304C-E424-4A4A-81D9-ABDA7518D7DD}" dt="2023-01-03T20:03:32.846" v="6504" actId="478"/>
          <ac:spMkLst>
            <pc:docMk/>
            <pc:sldMk cId="958965548" sldId="2147377176"/>
            <ac:spMk id="20" creationId="{A64DE9CC-550B-41B6-B709-206F3ECA8D0E}"/>
          </ac:spMkLst>
        </pc:spChg>
        <pc:spChg chg="mod">
          <ac:chgData name="Carroll, Tyler" userId="69b673a0-6af4-4d8a-830b-550d1bbab5f8" providerId="ADAL" clId="{FA54304C-E424-4A4A-81D9-ABDA7518D7DD}" dt="2023-01-05T11:35:19.083" v="13070" actId="948"/>
          <ac:spMkLst>
            <pc:docMk/>
            <pc:sldMk cId="958965548" sldId="2147377176"/>
            <ac:spMk id="24" creationId="{484386E8-48A6-4030-A8D5-7C089E4350F2}"/>
          </ac:spMkLst>
        </pc:spChg>
        <pc:graphicFrameChg chg="mod">
          <ac:chgData name="Carroll, Tyler" userId="69b673a0-6af4-4d8a-830b-550d1bbab5f8" providerId="ADAL" clId="{FA54304C-E424-4A4A-81D9-ABDA7518D7DD}" dt="2023-01-05T11:35:19.168" v="13113"/>
          <ac:graphicFrameMkLst>
            <pc:docMk/>
            <pc:sldMk cId="958965548" sldId="2147377176"/>
            <ac:graphicFrameMk id="5" creationId="{EBBF01A9-6FA8-514B-E908-D2602B740E0B}"/>
          </ac:graphicFrameMkLst>
        </pc:graphicFrameChg>
        <pc:graphicFrameChg chg="mod">
          <ac:chgData name="Carroll, Tyler" userId="69b673a0-6af4-4d8a-830b-550d1bbab5f8" providerId="ADAL" clId="{FA54304C-E424-4A4A-81D9-ABDA7518D7DD}" dt="2023-01-04T17:34:24.413" v="11537" actId="1076"/>
          <ac:graphicFrameMkLst>
            <pc:docMk/>
            <pc:sldMk cId="958965548" sldId="2147377176"/>
            <ac:graphicFrameMk id="8" creationId="{9166DA0E-38D7-6B50-3A56-887174B2802D}"/>
          </ac:graphicFrameMkLst>
        </pc:graphicFrameChg>
      </pc:sldChg>
      <pc:sldChg chg="addSp delSp modSp mod">
        <pc:chgData name="Carroll, Tyler" userId="69b673a0-6af4-4d8a-830b-550d1bbab5f8" providerId="ADAL" clId="{FA54304C-E424-4A4A-81D9-ABDA7518D7DD}" dt="2023-01-05T11:35:53.224" v="13293"/>
        <pc:sldMkLst>
          <pc:docMk/>
          <pc:sldMk cId="3280668866" sldId="2147377177"/>
        </pc:sldMkLst>
        <pc:spChg chg="add del mod modVis">
          <ac:chgData name="Carroll, Tyler" userId="69b673a0-6af4-4d8a-830b-550d1bbab5f8" providerId="ADAL" clId="{FA54304C-E424-4A4A-81D9-ABDA7518D7DD}" dt="2023-01-05T11:35:53.220" v="13291"/>
          <ac:spMkLst>
            <pc:docMk/>
            <pc:sldMk cId="3280668866" sldId="2147377177"/>
            <ac:spMk id="2" creationId="{0313FD15-0EC5-881E-481E-E3ECAA7FB445}"/>
          </ac:spMkLst>
        </pc:spChg>
        <pc:spChg chg="add del mod modVis">
          <ac:chgData name="Carroll, Tyler" userId="69b673a0-6af4-4d8a-830b-550d1bbab5f8" providerId="ADAL" clId="{FA54304C-E424-4A4A-81D9-ABDA7518D7DD}" dt="2023-01-03T22:13:03.391" v="9489"/>
          <ac:spMkLst>
            <pc:docMk/>
            <pc:sldMk cId="3280668866" sldId="2147377177"/>
            <ac:spMk id="2" creationId="{488107C1-7859-828D-867A-F0531874DC72}"/>
          </ac:spMkLst>
        </pc:spChg>
        <pc:spChg chg="del">
          <ac:chgData name="Carroll, Tyler" userId="69b673a0-6af4-4d8a-830b-550d1bbab5f8" providerId="ADAL" clId="{FA54304C-E424-4A4A-81D9-ABDA7518D7DD}" dt="2023-01-03T20:03:38.380" v="6506" actId="478"/>
          <ac:spMkLst>
            <pc:docMk/>
            <pc:sldMk cId="3280668866" sldId="2147377177"/>
            <ac:spMk id="2" creationId="{63329747-E5CF-F00E-0BAA-BA3CDF4CEFB1}"/>
          </ac:spMkLst>
        </pc:spChg>
        <pc:spChg chg="mod">
          <ac:chgData name="Carroll, Tyler" userId="69b673a0-6af4-4d8a-830b-550d1bbab5f8" providerId="ADAL" clId="{FA54304C-E424-4A4A-81D9-ABDA7518D7DD}" dt="2023-01-04T18:08:29.760" v="11849" actId="2711"/>
          <ac:spMkLst>
            <pc:docMk/>
            <pc:sldMk cId="3280668866" sldId="2147377177"/>
            <ac:spMk id="4" creationId="{C08CFB46-C39B-FF12-5EBE-837683F25E13}"/>
          </ac:spMkLst>
        </pc:spChg>
        <pc:spChg chg="add del mod modVis">
          <ac:chgData name="Carroll, Tyler" userId="69b673a0-6af4-4d8a-830b-550d1bbab5f8" providerId="ADAL" clId="{FA54304C-E424-4A4A-81D9-ABDA7518D7DD}" dt="2023-01-03T17:29:54.848" v="2900"/>
          <ac:spMkLst>
            <pc:docMk/>
            <pc:sldMk cId="3280668866" sldId="2147377177"/>
            <ac:spMk id="5" creationId="{5117DFFB-D9C4-C62E-D0D5-EE8A98E0A33D}"/>
          </ac:spMkLst>
        </pc:spChg>
        <pc:spChg chg="add del mod modVis">
          <ac:chgData name="Carroll, Tyler" userId="69b673a0-6af4-4d8a-830b-550d1bbab5f8" providerId="ADAL" clId="{FA54304C-E424-4A4A-81D9-ABDA7518D7DD}" dt="2023-01-03T22:13:05.956" v="9534"/>
          <ac:spMkLst>
            <pc:docMk/>
            <pc:sldMk cId="3280668866" sldId="2147377177"/>
            <ac:spMk id="5" creationId="{A21ED403-776F-81DF-7AEA-ED64704EA0BE}"/>
          </ac:spMkLst>
        </pc:spChg>
        <pc:spChg chg="mod">
          <ac:chgData name="Carroll, Tyler" userId="69b673a0-6af4-4d8a-830b-550d1bbab5f8" providerId="ADAL" clId="{FA54304C-E424-4A4A-81D9-ABDA7518D7DD}" dt="2023-01-05T11:35:53.173" v="13250" actId="948"/>
          <ac:spMkLst>
            <pc:docMk/>
            <pc:sldMk cId="3280668866" sldId="2147377177"/>
            <ac:spMk id="8" creationId="{658B3A2B-AAD7-BB17-9E7A-EEE42118211C}"/>
          </ac:spMkLst>
        </pc:spChg>
        <pc:graphicFrameChg chg="mod">
          <ac:chgData name="Carroll, Tyler" userId="69b673a0-6af4-4d8a-830b-550d1bbab5f8" providerId="ADAL" clId="{FA54304C-E424-4A4A-81D9-ABDA7518D7DD}" dt="2023-01-05T11:35:53.224" v="13293"/>
          <ac:graphicFrameMkLst>
            <pc:docMk/>
            <pc:sldMk cId="3280668866" sldId="2147377177"/>
            <ac:graphicFrameMk id="9" creationId="{85FD8D94-DA0D-CC58-AC3F-620E024CA2A1}"/>
          </ac:graphicFrameMkLst>
        </pc:graphicFrameChg>
        <pc:graphicFrameChg chg="modGraphic">
          <ac:chgData name="Carroll, Tyler" userId="69b673a0-6af4-4d8a-830b-550d1bbab5f8" providerId="ADAL" clId="{FA54304C-E424-4A4A-81D9-ABDA7518D7DD}" dt="2023-01-03T21:53:58.393" v="8888" actId="207"/>
          <ac:graphicFrameMkLst>
            <pc:docMk/>
            <pc:sldMk cId="3280668866" sldId="2147377177"/>
            <ac:graphicFrameMk id="10" creationId="{72C3903D-8C03-CF13-E372-DAB3E125E0CB}"/>
          </ac:graphicFrameMkLst>
        </pc:graphicFrameChg>
        <pc:picChg chg="del">
          <ac:chgData name="Carroll, Tyler" userId="69b673a0-6af4-4d8a-830b-550d1bbab5f8" providerId="ADAL" clId="{FA54304C-E424-4A4A-81D9-ABDA7518D7DD}" dt="2023-01-03T17:54:10.078" v="3528" actId="478"/>
          <ac:picMkLst>
            <pc:docMk/>
            <pc:sldMk cId="3280668866" sldId="2147377177"/>
            <ac:picMk id="18" creationId="{FCBD490C-F34A-C206-896D-1D3EFB63D072}"/>
          </ac:picMkLst>
        </pc:picChg>
      </pc:sldChg>
      <pc:sldChg chg="addSp modSp mod ord setBg modNotesTx">
        <pc:chgData name="Carroll, Tyler" userId="69b673a0-6af4-4d8a-830b-550d1bbab5f8" providerId="ADAL" clId="{FA54304C-E424-4A4A-81D9-ABDA7518D7DD}" dt="2023-01-04T18:45:54.311" v="12681" actId="20577"/>
        <pc:sldMkLst>
          <pc:docMk/>
          <pc:sldMk cId="2373518704" sldId="2147377178"/>
        </pc:sldMkLst>
        <pc:spChg chg="mod">
          <ac:chgData name="Carroll, Tyler" userId="69b673a0-6af4-4d8a-830b-550d1bbab5f8" providerId="ADAL" clId="{FA54304C-E424-4A4A-81D9-ABDA7518D7DD}" dt="2023-01-03T21:45:41.706" v="8602" actId="2711"/>
          <ac:spMkLst>
            <pc:docMk/>
            <pc:sldMk cId="2373518704" sldId="2147377178"/>
            <ac:spMk id="5" creationId="{94CFD307-6DAB-473D-AF83-06BB85B99DE9}"/>
          </ac:spMkLst>
        </pc:spChg>
        <pc:spChg chg="mod">
          <ac:chgData name="Carroll, Tyler" userId="69b673a0-6af4-4d8a-830b-550d1bbab5f8" providerId="ADAL" clId="{FA54304C-E424-4A4A-81D9-ABDA7518D7DD}" dt="2023-01-04T17:27:42.608" v="11533" actId="20577"/>
          <ac:spMkLst>
            <pc:docMk/>
            <pc:sldMk cId="2373518704" sldId="2147377178"/>
            <ac:spMk id="21" creationId="{D13524F4-34F2-2BC1-29BB-4A771AD734E3}"/>
          </ac:spMkLst>
        </pc:spChg>
        <pc:spChg chg="mod">
          <ac:chgData name="Carroll, Tyler" userId="69b673a0-6af4-4d8a-830b-550d1bbab5f8" providerId="ADAL" clId="{FA54304C-E424-4A4A-81D9-ABDA7518D7DD}" dt="2023-01-03T21:48:42.849" v="8792" actId="404"/>
          <ac:spMkLst>
            <pc:docMk/>
            <pc:sldMk cId="2373518704" sldId="2147377178"/>
            <ac:spMk id="35" creationId="{B6B8C041-3061-37F7-68FE-4AA402720C9A}"/>
          </ac:spMkLst>
        </pc:spChg>
        <pc:picChg chg="mod modCrop">
          <ac:chgData name="Carroll, Tyler" userId="69b673a0-6af4-4d8a-830b-550d1bbab5f8" providerId="ADAL" clId="{FA54304C-E424-4A4A-81D9-ABDA7518D7DD}" dt="2023-01-03T21:46:48.297" v="8604" actId="1076"/>
          <ac:picMkLst>
            <pc:docMk/>
            <pc:sldMk cId="2373518704" sldId="2147377178"/>
            <ac:picMk id="20" creationId="{624139C6-5A46-0ACB-A33B-42F3C9ECA59B}"/>
          </ac:picMkLst>
        </pc:picChg>
        <pc:picChg chg="add mod modCrop">
          <ac:chgData name="Carroll, Tyler" userId="69b673a0-6af4-4d8a-830b-550d1bbab5f8" providerId="ADAL" clId="{FA54304C-E424-4A4A-81D9-ABDA7518D7DD}" dt="2023-01-03T21:46:48.297" v="8604" actId="1076"/>
          <ac:picMkLst>
            <pc:docMk/>
            <pc:sldMk cId="2373518704" sldId="2147377178"/>
            <ac:picMk id="24" creationId="{089F0387-795E-7736-338D-8C6B41276B27}"/>
          </ac:picMkLst>
        </pc:picChg>
      </pc:sldChg>
      <pc:sldChg chg="del">
        <pc:chgData name="Carroll, Tyler" userId="69b673a0-6af4-4d8a-830b-550d1bbab5f8" providerId="ADAL" clId="{FA54304C-E424-4A4A-81D9-ABDA7518D7DD}" dt="2023-01-03T16:49:42.912" v="15" actId="47"/>
        <pc:sldMkLst>
          <pc:docMk/>
          <pc:sldMk cId="1094962385" sldId="2147377180"/>
        </pc:sldMkLst>
      </pc:sldChg>
      <pc:sldChg chg="add del ord">
        <pc:chgData name="Carroll, Tyler" userId="69b673a0-6af4-4d8a-830b-550d1bbab5f8" providerId="ADAL" clId="{FA54304C-E424-4A4A-81D9-ABDA7518D7DD}" dt="2023-01-03T22:15:31.870" v="10577" actId="47"/>
        <pc:sldMkLst>
          <pc:docMk/>
          <pc:sldMk cId="1360900172" sldId="2147377181"/>
        </pc:sldMkLst>
      </pc:sldChg>
      <pc:sldChg chg="addSp delSp modSp add del mod setBg modNotesTx">
        <pc:chgData name="Carroll, Tyler" userId="69b673a0-6af4-4d8a-830b-550d1bbab5f8" providerId="ADAL" clId="{FA54304C-E424-4A4A-81D9-ABDA7518D7DD}" dt="2023-01-04T18:46:12.526" v="12699" actId="20577"/>
        <pc:sldMkLst>
          <pc:docMk/>
          <pc:sldMk cId="2238093914" sldId="2147377182"/>
        </pc:sldMkLst>
        <pc:spChg chg="mod">
          <ac:chgData name="Carroll, Tyler" userId="69b673a0-6af4-4d8a-830b-550d1bbab5f8" providerId="ADAL" clId="{FA54304C-E424-4A4A-81D9-ABDA7518D7DD}" dt="2023-01-04T16:29:47.158" v="11459" actId="1036"/>
          <ac:spMkLst>
            <pc:docMk/>
            <pc:sldMk cId="2238093914" sldId="2147377182"/>
            <ac:spMk id="2" creationId="{FB7F8B9B-F682-88AB-41EF-2B2E86DCABEA}"/>
          </ac:spMkLst>
        </pc:spChg>
        <pc:spChg chg="mod">
          <ac:chgData name="Carroll, Tyler" userId="69b673a0-6af4-4d8a-830b-550d1bbab5f8" providerId="ADAL" clId="{FA54304C-E424-4A4A-81D9-ABDA7518D7DD}" dt="2023-01-04T16:29:50.812" v="11468" actId="948"/>
          <ac:spMkLst>
            <pc:docMk/>
            <pc:sldMk cId="2238093914" sldId="2147377182"/>
            <ac:spMk id="3" creationId="{D2C3D60C-DE1C-0DF0-7EF7-0069ABF6B7EB}"/>
          </ac:spMkLst>
        </pc:spChg>
        <pc:spChg chg="add del mod modVis">
          <ac:chgData name="Carroll, Tyler" userId="69b673a0-6af4-4d8a-830b-550d1bbab5f8" providerId="ADAL" clId="{FA54304C-E424-4A4A-81D9-ABDA7518D7DD}" dt="2023-01-03T18:12:13.275" v="4300"/>
          <ac:spMkLst>
            <pc:docMk/>
            <pc:sldMk cId="2238093914" sldId="2147377182"/>
            <ac:spMk id="4" creationId="{284E9C9C-194E-69E1-54DC-31E50D86C3FE}"/>
          </ac:spMkLst>
        </pc:spChg>
        <pc:spChg chg="add del mod modVis">
          <ac:chgData name="Carroll, Tyler" userId="69b673a0-6af4-4d8a-830b-550d1bbab5f8" providerId="ADAL" clId="{FA54304C-E424-4A4A-81D9-ABDA7518D7DD}" dt="2023-01-04T16:29:50.854" v="11509"/>
          <ac:spMkLst>
            <pc:docMk/>
            <pc:sldMk cId="2238093914" sldId="2147377182"/>
            <ac:spMk id="4" creationId="{3B3524C2-7D20-F079-BB91-27572781F5F0}"/>
          </ac:spMkLst>
        </pc:spChg>
        <pc:spChg chg="add del mod modVis">
          <ac:chgData name="Carroll, Tyler" userId="69b673a0-6af4-4d8a-830b-550d1bbab5f8" providerId="ADAL" clId="{FA54304C-E424-4A4A-81D9-ABDA7518D7DD}" dt="2023-01-03T20:16:56.649" v="6748"/>
          <ac:spMkLst>
            <pc:docMk/>
            <pc:sldMk cId="2238093914" sldId="2147377182"/>
            <ac:spMk id="4" creationId="{59887101-F453-48BF-C693-A83FD20D0983}"/>
          </ac:spMkLst>
        </pc:spChg>
        <pc:spChg chg="add del mod modVis">
          <ac:chgData name="Carroll, Tyler" userId="69b673a0-6af4-4d8a-830b-550d1bbab5f8" providerId="ADAL" clId="{FA54304C-E424-4A4A-81D9-ABDA7518D7DD}" dt="2023-01-03T18:24:02.581" v="4824"/>
          <ac:spMkLst>
            <pc:docMk/>
            <pc:sldMk cId="2238093914" sldId="2147377182"/>
            <ac:spMk id="5" creationId="{B7EB7733-57D2-69D0-304C-066F6D22B123}"/>
          </ac:spMkLst>
        </pc:spChg>
        <pc:spChg chg="add del mod modVis">
          <ac:chgData name="Carroll, Tyler" userId="69b673a0-6af4-4d8a-830b-550d1bbab5f8" providerId="ADAL" clId="{FA54304C-E424-4A4A-81D9-ABDA7518D7DD}" dt="2023-01-03T18:24:08.435" v="4869"/>
          <ac:spMkLst>
            <pc:docMk/>
            <pc:sldMk cId="2238093914" sldId="2147377182"/>
            <ac:spMk id="6" creationId="{F5685515-13D5-EF81-D62F-FE007FC6D7C0}"/>
          </ac:spMkLst>
        </pc:spChg>
        <pc:spChg chg="add del mod modVis">
          <ac:chgData name="Carroll, Tyler" userId="69b673a0-6af4-4d8a-830b-550d1bbab5f8" providerId="ADAL" clId="{FA54304C-E424-4A4A-81D9-ABDA7518D7DD}" dt="2023-01-03T18:24:21.779" v="4915"/>
          <ac:spMkLst>
            <pc:docMk/>
            <pc:sldMk cId="2238093914" sldId="2147377182"/>
            <ac:spMk id="9" creationId="{938B433E-0D26-C3B2-95A3-9B4E09992699}"/>
          </ac:spMkLst>
        </pc:spChg>
        <pc:spChg chg="add del mod modVis">
          <ac:chgData name="Carroll, Tyler" userId="69b673a0-6af4-4d8a-830b-550d1bbab5f8" providerId="ADAL" clId="{FA54304C-E424-4A4A-81D9-ABDA7518D7DD}" dt="2023-01-03T18:24:23.853" v="4961"/>
          <ac:spMkLst>
            <pc:docMk/>
            <pc:sldMk cId="2238093914" sldId="2147377182"/>
            <ac:spMk id="10" creationId="{27486D8C-D0A6-D5B6-B2EB-77CBA2970EA1}"/>
          </ac:spMkLst>
        </pc:spChg>
        <pc:spChg chg="del">
          <ac:chgData name="Carroll, Tyler" userId="69b673a0-6af4-4d8a-830b-550d1bbab5f8" providerId="ADAL" clId="{FA54304C-E424-4A4A-81D9-ABDA7518D7DD}" dt="2023-01-03T17:39:03.592" v="3293" actId="478"/>
          <ac:spMkLst>
            <pc:docMk/>
            <pc:sldMk cId="2238093914" sldId="2147377182"/>
            <ac:spMk id="16" creationId="{43605937-41C8-9B7D-8ABE-0549DE98B578}"/>
          </ac:spMkLst>
        </pc:spChg>
        <pc:spChg chg="mod">
          <ac:chgData name="Carroll, Tyler" userId="69b673a0-6af4-4d8a-830b-550d1bbab5f8" providerId="ADAL" clId="{FA54304C-E424-4A4A-81D9-ABDA7518D7DD}" dt="2023-01-03T18:12:12.726" v="4258"/>
          <ac:spMkLst>
            <pc:docMk/>
            <pc:sldMk cId="2238093914" sldId="2147377182"/>
            <ac:spMk id="23" creationId="{17B7EED0-CAD2-C813-C9C9-EF3A31E4FE68}"/>
          </ac:spMkLst>
        </pc:spChg>
        <pc:graphicFrameChg chg="mod">
          <ac:chgData name="Carroll, Tyler" userId="69b673a0-6af4-4d8a-830b-550d1bbab5f8" providerId="ADAL" clId="{FA54304C-E424-4A4A-81D9-ABDA7518D7DD}" dt="2023-01-04T16:29:50.857" v="11511"/>
          <ac:graphicFrameMkLst>
            <pc:docMk/>
            <pc:sldMk cId="2238093914" sldId="2147377182"/>
            <ac:graphicFrameMk id="7" creationId="{CF669542-599B-704E-D515-E0469F4E210C}"/>
          </ac:graphicFrameMkLst>
        </pc:graphicFrameChg>
        <pc:picChg chg="del">
          <ac:chgData name="Carroll, Tyler" userId="69b673a0-6af4-4d8a-830b-550d1bbab5f8" providerId="ADAL" clId="{FA54304C-E424-4A4A-81D9-ABDA7518D7DD}" dt="2023-01-03T17:12:10.759" v="177" actId="478"/>
          <ac:picMkLst>
            <pc:docMk/>
            <pc:sldMk cId="2238093914" sldId="2147377182"/>
            <ac:picMk id="5" creationId="{3263EEC7-E705-4159-4629-E90B9DFBAEA2}"/>
          </ac:picMkLst>
        </pc:picChg>
        <pc:picChg chg="del">
          <ac:chgData name="Carroll, Tyler" userId="69b673a0-6af4-4d8a-830b-550d1bbab5f8" providerId="ADAL" clId="{FA54304C-E424-4A4A-81D9-ABDA7518D7DD}" dt="2023-01-03T17:53:45.974" v="3522" actId="478"/>
          <ac:picMkLst>
            <pc:docMk/>
            <pc:sldMk cId="2238093914" sldId="2147377182"/>
            <ac:picMk id="8" creationId="{766714EB-95F0-2BD4-7BE4-675C988DC99F}"/>
          </ac:picMkLst>
        </pc:picChg>
      </pc:sldChg>
      <pc:sldChg chg="modSp add del mod ord modTransition modShow">
        <pc:chgData name="Carroll, Tyler" userId="69b673a0-6af4-4d8a-830b-550d1bbab5f8" providerId="ADAL" clId="{FA54304C-E424-4A4A-81D9-ABDA7518D7DD}" dt="2023-01-03T17:43:44.928" v="3343" actId="47"/>
        <pc:sldMkLst>
          <pc:docMk/>
          <pc:sldMk cId="17168318" sldId="2147377183"/>
        </pc:sldMkLst>
        <pc:spChg chg="mod">
          <ac:chgData name="Carroll, Tyler" userId="69b673a0-6af4-4d8a-830b-550d1bbab5f8" providerId="ADAL" clId="{FA54304C-E424-4A4A-81D9-ABDA7518D7DD}" dt="2023-01-03T17:18:00.603" v="778" actId="20577"/>
          <ac:spMkLst>
            <pc:docMk/>
            <pc:sldMk cId="17168318" sldId="2147377183"/>
            <ac:spMk id="4" creationId="{0B4C634F-93E7-87E0-6210-0D974C6A5002}"/>
          </ac:spMkLst>
        </pc:spChg>
        <pc:graphicFrameChg chg="mod">
          <ac:chgData name="Carroll, Tyler" userId="69b673a0-6af4-4d8a-830b-550d1bbab5f8" providerId="ADAL" clId="{FA54304C-E424-4A4A-81D9-ABDA7518D7DD}" dt="2023-01-03T17:18:00.610" v="780"/>
          <ac:graphicFrameMkLst>
            <pc:docMk/>
            <pc:sldMk cId="17168318" sldId="2147377183"/>
            <ac:graphicFrameMk id="6" creationId="{940B32B9-61E1-BA2E-F0AE-9D36B325DAC0}"/>
          </ac:graphicFrameMkLst>
        </pc:graphicFrameChg>
      </pc:sldChg>
      <pc:sldChg chg="add del">
        <pc:chgData name="Carroll, Tyler" userId="69b673a0-6af4-4d8a-830b-550d1bbab5f8" providerId="ADAL" clId="{FA54304C-E424-4A4A-81D9-ABDA7518D7DD}" dt="2023-01-03T17:49:56.799" v="3398" actId="47"/>
        <pc:sldMkLst>
          <pc:docMk/>
          <pc:sldMk cId="2848682399" sldId="2147377184"/>
        </pc:sldMkLst>
      </pc:sldChg>
      <pc:sldChg chg="delSp add del mod">
        <pc:chgData name="Carroll, Tyler" userId="69b673a0-6af4-4d8a-830b-550d1bbab5f8" providerId="ADAL" clId="{FA54304C-E424-4A4A-81D9-ABDA7518D7DD}" dt="2023-01-03T20:15:55.862" v="6657" actId="47"/>
        <pc:sldMkLst>
          <pc:docMk/>
          <pc:sldMk cId="3305952332" sldId="2147377185"/>
        </pc:sldMkLst>
        <pc:picChg chg="del">
          <ac:chgData name="Carroll, Tyler" userId="69b673a0-6af4-4d8a-830b-550d1bbab5f8" providerId="ADAL" clId="{FA54304C-E424-4A4A-81D9-ABDA7518D7DD}" dt="2023-01-03T17:53:41.570" v="3520" actId="478"/>
          <ac:picMkLst>
            <pc:docMk/>
            <pc:sldMk cId="3305952332" sldId="2147377185"/>
            <ac:picMk id="7" creationId="{4E01CED8-AC07-7F52-986A-A200DA354196}"/>
          </ac:picMkLst>
        </pc:picChg>
      </pc:sldChg>
      <pc:sldChg chg="addSp delSp modSp add mod setBg modClrScheme chgLayout modNotesTx">
        <pc:chgData name="Carroll, Tyler" userId="69b673a0-6af4-4d8a-830b-550d1bbab5f8" providerId="ADAL" clId="{FA54304C-E424-4A4A-81D9-ABDA7518D7DD}" dt="2023-01-04T18:45:46.429" v="12676" actId="20577"/>
        <pc:sldMkLst>
          <pc:docMk/>
          <pc:sldMk cId="3080071752" sldId="2147377186"/>
        </pc:sldMkLst>
        <pc:spChg chg="add del mod ord">
          <ac:chgData name="Carroll, Tyler" userId="69b673a0-6af4-4d8a-830b-550d1bbab5f8" providerId="ADAL" clId="{FA54304C-E424-4A4A-81D9-ABDA7518D7DD}" dt="2023-01-03T17:33:18.423" v="3132" actId="478"/>
          <ac:spMkLst>
            <pc:docMk/>
            <pc:sldMk cId="3080071752" sldId="2147377186"/>
            <ac:spMk id="2" creationId="{518B02C3-F239-E353-07E4-52910A2D2DB3}"/>
          </ac:spMkLst>
        </pc:spChg>
        <pc:spChg chg="add del mod ord">
          <ac:chgData name="Carroll, Tyler" userId="69b673a0-6af4-4d8a-830b-550d1bbab5f8" providerId="ADAL" clId="{FA54304C-E424-4A4A-81D9-ABDA7518D7DD}" dt="2023-01-03T17:32:52.745" v="3108" actId="478"/>
          <ac:spMkLst>
            <pc:docMk/>
            <pc:sldMk cId="3080071752" sldId="2147377186"/>
            <ac:spMk id="3" creationId="{4CBEE1AD-AACF-2F53-C329-E64E49358B95}"/>
          </ac:spMkLst>
        </pc:spChg>
        <pc:spChg chg="add del mod modVis">
          <ac:chgData name="Carroll, Tyler" userId="69b673a0-6af4-4d8a-830b-550d1bbab5f8" providerId="ADAL" clId="{FA54304C-E424-4A4A-81D9-ABDA7518D7DD}" dt="2023-01-03T17:32:38.330" v="3102"/>
          <ac:spMkLst>
            <pc:docMk/>
            <pc:sldMk cId="3080071752" sldId="2147377186"/>
            <ac:spMk id="4" creationId="{4DC65670-FF24-0EE2-20FB-AE2CEEBAE90C}"/>
          </ac:spMkLst>
        </pc:spChg>
        <pc:spChg chg="add mod ord">
          <ac:chgData name="Carroll, Tyler" userId="69b673a0-6af4-4d8a-830b-550d1bbab5f8" providerId="ADAL" clId="{FA54304C-E424-4A4A-81D9-ABDA7518D7DD}" dt="2023-01-03T17:33:12.462" v="3117"/>
          <ac:spMkLst>
            <pc:docMk/>
            <pc:sldMk cId="3080071752" sldId="2147377186"/>
            <ac:spMk id="5" creationId="{85EDB4D3-DEA2-8501-79FC-1BF1F8C2DC0E}"/>
          </ac:spMkLst>
        </pc:spChg>
        <pc:spChg chg="add del mod">
          <ac:chgData name="Carroll, Tyler" userId="69b673a0-6af4-4d8a-830b-550d1bbab5f8" providerId="ADAL" clId="{FA54304C-E424-4A4A-81D9-ABDA7518D7DD}" dt="2023-01-03T17:44:03.611" v="3348" actId="478"/>
          <ac:spMkLst>
            <pc:docMk/>
            <pc:sldMk cId="3080071752" sldId="2147377186"/>
            <ac:spMk id="7" creationId="{5DB651E4-3387-48AB-3B4A-9DBC7D436CC0}"/>
          </ac:spMkLst>
        </pc:spChg>
        <pc:spChg chg="add del mod ord">
          <ac:chgData name="Carroll, Tyler" userId="69b673a0-6af4-4d8a-830b-550d1bbab5f8" providerId="ADAL" clId="{FA54304C-E424-4A4A-81D9-ABDA7518D7DD}" dt="2023-01-03T17:44:39.393" v="3357" actId="478"/>
          <ac:spMkLst>
            <pc:docMk/>
            <pc:sldMk cId="3080071752" sldId="2147377186"/>
            <ac:spMk id="8" creationId="{7D9F2778-ABE9-DF76-19B0-4BA8C409DCDA}"/>
          </ac:spMkLst>
        </pc:spChg>
        <pc:spChg chg="add del mod ord">
          <ac:chgData name="Carroll, Tyler" userId="69b673a0-6af4-4d8a-830b-550d1bbab5f8" providerId="ADAL" clId="{FA54304C-E424-4A4A-81D9-ABDA7518D7DD}" dt="2023-01-03T17:44:44.017" v="3359" actId="478"/>
          <ac:spMkLst>
            <pc:docMk/>
            <pc:sldMk cId="3080071752" sldId="2147377186"/>
            <ac:spMk id="9" creationId="{567C1184-0F73-6540-1818-23531398B453}"/>
          </ac:spMkLst>
        </pc:spChg>
        <pc:spChg chg="add del mod ord">
          <ac:chgData name="Carroll, Tyler" userId="69b673a0-6af4-4d8a-830b-550d1bbab5f8" providerId="ADAL" clId="{FA54304C-E424-4A4A-81D9-ABDA7518D7DD}" dt="2023-01-03T17:44:41.917" v="3358" actId="478"/>
          <ac:spMkLst>
            <pc:docMk/>
            <pc:sldMk cId="3080071752" sldId="2147377186"/>
            <ac:spMk id="10" creationId="{ED83069E-E18D-4946-D440-DA51A8780701}"/>
          </ac:spMkLst>
        </pc:spChg>
        <pc:spChg chg="del mod ord">
          <ac:chgData name="Carroll, Tyler" userId="69b673a0-6af4-4d8a-830b-550d1bbab5f8" providerId="ADAL" clId="{FA54304C-E424-4A4A-81D9-ABDA7518D7DD}" dt="2023-01-03T17:33:01.103" v="3111" actId="478"/>
          <ac:spMkLst>
            <pc:docMk/>
            <pc:sldMk cId="3080071752" sldId="2147377186"/>
            <ac:spMk id="15" creationId="{B78C67FA-CBC7-1749-BF7F-FF17C69ADC74}"/>
          </ac:spMkLst>
        </pc:spChg>
        <pc:spChg chg="del mod ord">
          <ac:chgData name="Carroll, Tyler" userId="69b673a0-6af4-4d8a-830b-550d1bbab5f8" providerId="ADAL" clId="{FA54304C-E424-4A4A-81D9-ABDA7518D7DD}" dt="2023-01-03T17:33:23.415" v="3133" actId="478"/>
          <ac:spMkLst>
            <pc:docMk/>
            <pc:sldMk cId="3080071752" sldId="2147377186"/>
            <ac:spMk id="16" creationId="{0C021B23-639D-6E59-2FB2-8FE735D70FCA}"/>
          </ac:spMkLst>
        </pc:spChg>
        <pc:spChg chg="mod ord">
          <ac:chgData name="Carroll, Tyler" userId="69b673a0-6af4-4d8a-830b-550d1bbab5f8" providerId="ADAL" clId="{FA54304C-E424-4A4A-81D9-ABDA7518D7DD}" dt="2023-01-03T17:33:12.462" v="3127"/>
          <ac:spMkLst>
            <pc:docMk/>
            <pc:sldMk cId="3080071752" sldId="2147377186"/>
            <ac:spMk id="34" creationId="{12803A7B-6AA4-18BD-B125-37DC56557618}"/>
          </ac:spMkLst>
        </pc:spChg>
        <pc:graphicFrameChg chg="mod">
          <ac:chgData name="Carroll, Tyler" userId="69b673a0-6af4-4d8a-830b-550d1bbab5f8" providerId="ADAL" clId="{FA54304C-E424-4A4A-81D9-ABDA7518D7DD}" dt="2023-01-03T17:44:04.130" v="3352"/>
          <ac:graphicFrameMkLst>
            <pc:docMk/>
            <pc:sldMk cId="3080071752" sldId="2147377186"/>
            <ac:graphicFrameMk id="19" creationId="{F0546E54-0B83-D8F6-623B-E1C158DBD3C6}"/>
          </ac:graphicFrameMkLst>
        </pc:graphicFrameChg>
        <pc:picChg chg="add mod">
          <ac:chgData name="Carroll, Tyler" userId="69b673a0-6af4-4d8a-830b-550d1bbab5f8" providerId="ADAL" clId="{FA54304C-E424-4A4A-81D9-ABDA7518D7DD}" dt="2023-01-03T18:19:01.371" v="4573" actId="1076"/>
          <ac:picMkLst>
            <pc:docMk/>
            <pc:sldMk cId="3080071752" sldId="2147377186"/>
            <ac:picMk id="1026" creationId="{589BB742-A7E7-1080-86B9-6057058DFDB7}"/>
          </ac:picMkLst>
        </pc:picChg>
        <pc:cxnChg chg="mod ord">
          <ac:chgData name="Carroll, Tyler" userId="69b673a0-6af4-4d8a-830b-550d1bbab5f8" providerId="ADAL" clId="{FA54304C-E424-4A4A-81D9-ABDA7518D7DD}" dt="2023-01-03T21:27:21.291" v="7824" actId="1038"/>
          <ac:cxnSpMkLst>
            <pc:docMk/>
            <pc:sldMk cId="3080071752" sldId="2147377186"/>
            <ac:cxnSpMk id="24" creationId="{FFBF2AD6-CFEC-F103-1A33-AF56FD87D34A}"/>
          </ac:cxnSpMkLst>
        </pc:cxnChg>
        <pc:cxnChg chg="mod ord">
          <ac:chgData name="Carroll, Tyler" userId="69b673a0-6af4-4d8a-830b-550d1bbab5f8" providerId="ADAL" clId="{FA54304C-E424-4A4A-81D9-ABDA7518D7DD}" dt="2023-01-03T21:27:13.774" v="7821" actId="1038"/>
          <ac:cxnSpMkLst>
            <pc:docMk/>
            <pc:sldMk cId="3080071752" sldId="2147377186"/>
            <ac:cxnSpMk id="25" creationId="{E4B7990E-9015-87F9-408E-A578B56C6656}"/>
          </ac:cxnSpMkLst>
        </pc:cxnChg>
      </pc:sldChg>
      <pc:sldChg chg="addSp delSp modSp add mod ord modNotesTx">
        <pc:chgData name="Carroll, Tyler" userId="69b673a0-6af4-4d8a-830b-550d1bbab5f8" providerId="ADAL" clId="{FA54304C-E424-4A4A-81D9-ABDA7518D7DD}" dt="2023-01-04T18:46:06.519" v="12693" actId="20577"/>
        <pc:sldMkLst>
          <pc:docMk/>
          <pc:sldMk cId="2956353300" sldId="2147377187"/>
        </pc:sldMkLst>
        <pc:spChg chg="mod">
          <ac:chgData name="Carroll, Tyler" userId="69b673a0-6af4-4d8a-830b-550d1bbab5f8" providerId="ADAL" clId="{FA54304C-E424-4A4A-81D9-ABDA7518D7DD}" dt="2023-01-03T21:31:48.818" v="8101" actId="948"/>
          <ac:spMkLst>
            <pc:docMk/>
            <pc:sldMk cId="2956353300" sldId="2147377187"/>
            <ac:spMk id="3" creationId="{7C31B922-FCD1-4880-8A44-04E5BDD484BA}"/>
          </ac:spMkLst>
        </pc:spChg>
        <pc:spChg chg="mod">
          <ac:chgData name="Carroll, Tyler" userId="69b673a0-6af4-4d8a-830b-550d1bbab5f8" providerId="ADAL" clId="{FA54304C-E424-4A4A-81D9-ABDA7518D7DD}" dt="2023-01-03T21:32:00.162" v="8145" actId="2711"/>
          <ac:spMkLst>
            <pc:docMk/>
            <pc:sldMk cId="2956353300" sldId="2147377187"/>
            <ac:spMk id="5" creationId="{94CFD307-6DAB-473D-AF83-06BB85B99DE9}"/>
          </ac:spMkLst>
        </pc:spChg>
        <pc:spChg chg="mod">
          <ac:chgData name="Carroll, Tyler" userId="69b673a0-6af4-4d8a-830b-550d1bbab5f8" providerId="ADAL" clId="{FA54304C-E424-4A4A-81D9-ABDA7518D7DD}" dt="2023-01-03T21:32:00.162" v="8145" actId="2711"/>
          <ac:spMkLst>
            <pc:docMk/>
            <pc:sldMk cId="2956353300" sldId="2147377187"/>
            <ac:spMk id="6" creationId="{C8C2616D-35F1-F224-0AC6-A19B97187E44}"/>
          </ac:spMkLst>
        </pc:spChg>
        <pc:spChg chg="add del mod modVis">
          <ac:chgData name="Carroll, Tyler" userId="69b673a0-6af4-4d8a-830b-550d1bbab5f8" providerId="ADAL" clId="{FA54304C-E424-4A4A-81D9-ABDA7518D7DD}" dt="2023-01-03T21:31:46.180" v="8044"/>
          <ac:spMkLst>
            <pc:docMk/>
            <pc:sldMk cId="2956353300" sldId="2147377187"/>
            <ac:spMk id="7" creationId="{FB559C3A-7D19-17E3-80FC-8D04A64BB743}"/>
          </ac:spMkLst>
        </pc:spChg>
        <pc:spChg chg="mod">
          <ac:chgData name="Carroll, Tyler" userId="69b673a0-6af4-4d8a-830b-550d1bbab5f8" providerId="ADAL" clId="{FA54304C-E424-4A4A-81D9-ABDA7518D7DD}" dt="2023-01-03T21:32:00.162" v="8145" actId="2711"/>
          <ac:spMkLst>
            <pc:docMk/>
            <pc:sldMk cId="2956353300" sldId="2147377187"/>
            <ac:spMk id="8" creationId="{F1D0F842-C4A2-27B9-20DB-EDE7478AF0B9}"/>
          </ac:spMkLst>
        </pc:spChg>
        <pc:spChg chg="mod">
          <ac:chgData name="Carroll, Tyler" userId="69b673a0-6af4-4d8a-830b-550d1bbab5f8" providerId="ADAL" clId="{FA54304C-E424-4A4A-81D9-ABDA7518D7DD}" dt="2023-01-03T21:32:00.162" v="8145" actId="2711"/>
          <ac:spMkLst>
            <pc:docMk/>
            <pc:sldMk cId="2956353300" sldId="2147377187"/>
            <ac:spMk id="10" creationId="{A3AC44B3-2387-C1FF-83E0-67E1C54125D5}"/>
          </ac:spMkLst>
        </pc:spChg>
        <pc:spChg chg="mod">
          <ac:chgData name="Carroll, Tyler" userId="69b673a0-6af4-4d8a-830b-550d1bbab5f8" providerId="ADAL" clId="{FA54304C-E424-4A4A-81D9-ABDA7518D7DD}" dt="2023-01-03T21:31:38.275" v="8001" actId="2711"/>
          <ac:spMkLst>
            <pc:docMk/>
            <pc:sldMk cId="2956353300" sldId="2147377187"/>
            <ac:spMk id="13" creationId="{18B01CAF-EDC6-183E-EF44-F42598EAEDEC}"/>
          </ac:spMkLst>
        </pc:spChg>
        <pc:spChg chg="mod">
          <ac:chgData name="Carroll, Tyler" userId="69b673a0-6af4-4d8a-830b-550d1bbab5f8" providerId="ADAL" clId="{FA54304C-E424-4A4A-81D9-ABDA7518D7DD}" dt="2023-01-03T21:32:00.162" v="8145" actId="2711"/>
          <ac:spMkLst>
            <pc:docMk/>
            <pc:sldMk cId="2956353300" sldId="2147377187"/>
            <ac:spMk id="14" creationId="{3A9A1761-5342-F319-9E60-17C9B293447C}"/>
          </ac:spMkLst>
        </pc:spChg>
        <pc:spChg chg="mod">
          <ac:chgData name="Carroll, Tyler" userId="69b673a0-6af4-4d8a-830b-550d1bbab5f8" providerId="ADAL" clId="{FA54304C-E424-4A4A-81D9-ABDA7518D7DD}" dt="2023-01-03T21:32:00.162" v="8145" actId="2711"/>
          <ac:spMkLst>
            <pc:docMk/>
            <pc:sldMk cId="2956353300" sldId="2147377187"/>
            <ac:spMk id="18" creationId="{E9B2DE3F-4DD8-1D45-253E-98AAC7A13180}"/>
          </ac:spMkLst>
        </pc:spChg>
        <pc:spChg chg="mod">
          <ac:chgData name="Carroll, Tyler" userId="69b673a0-6af4-4d8a-830b-550d1bbab5f8" providerId="ADAL" clId="{FA54304C-E424-4A4A-81D9-ABDA7518D7DD}" dt="2023-01-03T21:32:00.162" v="8145" actId="2711"/>
          <ac:spMkLst>
            <pc:docMk/>
            <pc:sldMk cId="2956353300" sldId="2147377187"/>
            <ac:spMk id="21" creationId="{A5AA4612-9215-7AE9-4EF9-F5FCA5702CC9}"/>
          </ac:spMkLst>
        </pc:spChg>
        <pc:spChg chg="mod">
          <ac:chgData name="Carroll, Tyler" userId="69b673a0-6af4-4d8a-830b-550d1bbab5f8" providerId="ADAL" clId="{FA54304C-E424-4A4A-81D9-ABDA7518D7DD}" dt="2023-01-03T21:32:00.162" v="8145" actId="2711"/>
          <ac:spMkLst>
            <pc:docMk/>
            <pc:sldMk cId="2956353300" sldId="2147377187"/>
            <ac:spMk id="23" creationId="{7B913D04-DB93-9C41-939B-9B8A2C853434}"/>
          </ac:spMkLst>
        </pc:spChg>
        <pc:spChg chg="mod">
          <ac:chgData name="Carroll, Tyler" userId="69b673a0-6af4-4d8a-830b-550d1bbab5f8" providerId="ADAL" clId="{FA54304C-E424-4A4A-81D9-ABDA7518D7DD}" dt="2023-01-03T21:32:00.162" v="8145" actId="2711"/>
          <ac:spMkLst>
            <pc:docMk/>
            <pc:sldMk cId="2956353300" sldId="2147377187"/>
            <ac:spMk id="25" creationId="{62B6679B-D7BC-825D-3EEF-8BE05328A741}"/>
          </ac:spMkLst>
        </pc:spChg>
        <pc:spChg chg="mod">
          <ac:chgData name="Carroll, Tyler" userId="69b673a0-6af4-4d8a-830b-550d1bbab5f8" providerId="ADAL" clId="{FA54304C-E424-4A4A-81D9-ABDA7518D7DD}" dt="2023-01-03T21:32:00.162" v="8145" actId="2711"/>
          <ac:spMkLst>
            <pc:docMk/>
            <pc:sldMk cId="2956353300" sldId="2147377187"/>
            <ac:spMk id="27" creationId="{377C90D1-1103-3B55-B439-85932C2F4389}"/>
          </ac:spMkLst>
        </pc:spChg>
        <pc:spChg chg="mod">
          <ac:chgData name="Carroll, Tyler" userId="69b673a0-6af4-4d8a-830b-550d1bbab5f8" providerId="ADAL" clId="{FA54304C-E424-4A4A-81D9-ABDA7518D7DD}" dt="2023-01-03T21:32:00.162" v="8145" actId="2711"/>
          <ac:spMkLst>
            <pc:docMk/>
            <pc:sldMk cId="2956353300" sldId="2147377187"/>
            <ac:spMk id="28" creationId="{4F77EEE3-C56F-AA04-DC18-A051048A61B4}"/>
          </ac:spMkLst>
        </pc:spChg>
        <pc:spChg chg="add del mod modVis">
          <ac:chgData name="Carroll, Tyler" userId="69b673a0-6af4-4d8a-830b-550d1bbab5f8" providerId="ADAL" clId="{FA54304C-E424-4A4A-81D9-ABDA7518D7DD}" dt="2023-01-03T21:31:48.118" v="8090"/>
          <ac:spMkLst>
            <pc:docMk/>
            <pc:sldMk cId="2956353300" sldId="2147377187"/>
            <ac:spMk id="29" creationId="{72FF5005-08C2-3197-2A66-62E58F2AE270}"/>
          </ac:spMkLst>
        </pc:spChg>
        <pc:spChg chg="add del mod modVis">
          <ac:chgData name="Carroll, Tyler" userId="69b673a0-6af4-4d8a-830b-550d1bbab5f8" providerId="ADAL" clId="{FA54304C-E424-4A4A-81D9-ABDA7518D7DD}" dt="2023-01-03T21:31:48.879" v="8142"/>
          <ac:spMkLst>
            <pc:docMk/>
            <pc:sldMk cId="2956353300" sldId="2147377187"/>
            <ac:spMk id="31" creationId="{934B34CB-9249-6397-E6D5-70E11AAFC4F7}"/>
          </ac:spMkLst>
        </pc:spChg>
        <pc:spChg chg="mod">
          <ac:chgData name="Carroll, Tyler" userId="69b673a0-6af4-4d8a-830b-550d1bbab5f8" providerId="ADAL" clId="{FA54304C-E424-4A4A-81D9-ABDA7518D7DD}" dt="2023-01-03T21:32:00.162" v="8145" actId="2711"/>
          <ac:spMkLst>
            <pc:docMk/>
            <pc:sldMk cId="2956353300" sldId="2147377187"/>
            <ac:spMk id="37" creationId="{CAB6BB82-F15E-9DA5-90AA-F56C827BC04B}"/>
          </ac:spMkLst>
        </pc:spChg>
        <pc:spChg chg="mod">
          <ac:chgData name="Carroll, Tyler" userId="69b673a0-6af4-4d8a-830b-550d1bbab5f8" providerId="ADAL" clId="{FA54304C-E424-4A4A-81D9-ABDA7518D7DD}" dt="2023-01-03T21:32:00.162" v="8145" actId="2711"/>
          <ac:spMkLst>
            <pc:docMk/>
            <pc:sldMk cId="2956353300" sldId="2147377187"/>
            <ac:spMk id="39" creationId="{B90632A3-4C44-4B8B-FEA7-3CE42489F8D7}"/>
          </ac:spMkLst>
        </pc:spChg>
        <pc:spChg chg="mod">
          <ac:chgData name="Carroll, Tyler" userId="69b673a0-6af4-4d8a-830b-550d1bbab5f8" providerId="ADAL" clId="{FA54304C-E424-4A4A-81D9-ABDA7518D7DD}" dt="2023-01-03T21:32:00.162" v="8145" actId="2711"/>
          <ac:spMkLst>
            <pc:docMk/>
            <pc:sldMk cId="2956353300" sldId="2147377187"/>
            <ac:spMk id="41" creationId="{B0426226-0EA7-7358-DCFA-80653AA15D15}"/>
          </ac:spMkLst>
        </pc:spChg>
        <pc:spChg chg="mod">
          <ac:chgData name="Carroll, Tyler" userId="69b673a0-6af4-4d8a-830b-550d1bbab5f8" providerId="ADAL" clId="{FA54304C-E424-4A4A-81D9-ABDA7518D7DD}" dt="2023-01-03T21:32:00.162" v="8145" actId="2711"/>
          <ac:spMkLst>
            <pc:docMk/>
            <pc:sldMk cId="2956353300" sldId="2147377187"/>
            <ac:spMk id="47" creationId="{450CA4FA-FEB7-EF6A-0A36-4980BC5D4B13}"/>
          </ac:spMkLst>
        </pc:spChg>
        <pc:spChg chg="mod">
          <ac:chgData name="Carroll, Tyler" userId="69b673a0-6af4-4d8a-830b-550d1bbab5f8" providerId="ADAL" clId="{FA54304C-E424-4A4A-81D9-ABDA7518D7DD}" dt="2023-01-03T21:32:00.162" v="8145" actId="2711"/>
          <ac:spMkLst>
            <pc:docMk/>
            <pc:sldMk cId="2956353300" sldId="2147377187"/>
            <ac:spMk id="48" creationId="{0EF314FD-43FC-BA21-BCFC-042C37DCF54C}"/>
          </ac:spMkLst>
        </pc:spChg>
        <pc:spChg chg="mod">
          <ac:chgData name="Carroll, Tyler" userId="69b673a0-6af4-4d8a-830b-550d1bbab5f8" providerId="ADAL" clId="{FA54304C-E424-4A4A-81D9-ABDA7518D7DD}" dt="2023-01-03T21:32:00.162" v="8145" actId="2711"/>
          <ac:spMkLst>
            <pc:docMk/>
            <pc:sldMk cId="2956353300" sldId="2147377187"/>
            <ac:spMk id="50" creationId="{97C1FA83-296A-E733-893A-5F61BD5AB393}"/>
          </ac:spMkLst>
        </pc:spChg>
        <pc:spChg chg="mod">
          <ac:chgData name="Carroll, Tyler" userId="69b673a0-6af4-4d8a-830b-550d1bbab5f8" providerId="ADAL" clId="{FA54304C-E424-4A4A-81D9-ABDA7518D7DD}" dt="2023-01-03T21:32:00.162" v="8145" actId="2711"/>
          <ac:spMkLst>
            <pc:docMk/>
            <pc:sldMk cId="2956353300" sldId="2147377187"/>
            <ac:spMk id="61" creationId="{B72811B8-1781-DB26-9B12-01E96B19CB85}"/>
          </ac:spMkLst>
        </pc:spChg>
        <pc:spChg chg="mod">
          <ac:chgData name="Carroll, Tyler" userId="69b673a0-6af4-4d8a-830b-550d1bbab5f8" providerId="ADAL" clId="{FA54304C-E424-4A4A-81D9-ABDA7518D7DD}" dt="2023-01-03T21:32:00.162" v="8145" actId="2711"/>
          <ac:spMkLst>
            <pc:docMk/>
            <pc:sldMk cId="2956353300" sldId="2147377187"/>
            <ac:spMk id="62" creationId="{B354478A-486D-AC85-001A-0A72CFEB2C96}"/>
          </ac:spMkLst>
        </pc:spChg>
        <pc:spChg chg="mod">
          <ac:chgData name="Carroll, Tyler" userId="69b673a0-6af4-4d8a-830b-550d1bbab5f8" providerId="ADAL" clId="{FA54304C-E424-4A4A-81D9-ABDA7518D7DD}" dt="2023-01-03T21:32:00.162" v="8145" actId="2711"/>
          <ac:spMkLst>
            <pc:docMk/>
            <pc:sldMk cId="2956353300" sldId="2147377187"/>
            <ac:spMk id="95" creationId="{01E151E3-6998-A8F3-AD71-5DC161C16FA2}"/>
          </ac:spMkLst>
        </pc:spChg>
        <pc:spChg chg="mod">
          <ac:chgData name="Carroll, Tyler" userId="69b673a0-6af4-4d8a-830b-550d1bbab5f8" providerId="ADAL" clId="{FA54304C-E424-4A4A-81D9-ABDA7518D7DD}" dt="2023-01-03T21:32:00.162" v="8145" actId="2711"/>
          <ac:spMkLst>
            <pc:docMk/>
            <pc:sldMk cId="2956353300" sldId="2147377187"/>
            <ac:spMk id="97" creationId="{E9F24B7E-78B5-D439-F908-106416A79EAB}"/>
          </ac:spMkLst>
        </pc:spChg>
        <pc:grpChg chg="mod">
          <ac:chgData name="Carroll, Tyler" userId="69b673a0-6af4-4d8a-830b-550d1bbab5f8" providerId="ADAL" clId="{FA54304C-E424-4A4A-81D9-ABDA7518D7DD}" dt="2023-01-03T21:32:00.162" v="8145" actId="2711"/>
          <ac:grpSpMkLst>
            <pc:docMk/>
            <pc:sldMk cId="2956353300" sldId="2147377187"/>
            <ac:grpSpMk id="59" creationId="{4ADD53AC-A880-A34D-2075-3A3D8D5D5613}"/>
          </ac:grpSpMkLst>
        </pc:grpChg>
        <pc:graphicFrameChg chg="mod">
          <ac:chgData name="Carroll, Tyler" userId="69b673a0-6af4-4d8a-830b-550d1bbab5f8" providerId="ADAL" clId="{FA54304C-E424-4A4A-81D9-ABDA7518D7DD}" dt="2023-01-03T21:32:26.533" v="8149" actId="2711"/>
          <ac:graphicFrameMkLst>
            <pc:docMk/>
            <pc:sldMk cId="2956353300" sldId="2147377187"/>
            <ac:graphicFrameMk id="20" creationId="{1E4BE318-64A4-50DF-225A-8D3119EE7BD6}"/>
          </ac:graphicFrameMkLst>
        </pc:graphicFrameChg>
        <pc:graphicFrameChg chg="mod">
          <ac:chgData name="Carroll, Tyler" userId="69b673a0-6af4-4d8a-830b-550d1bbab5f8" providerId="ADAL" clId="{FA54304C-E424-4A4A-81D9-ABDA7518D7DD}" dt="2023-01-03T21:31:48.881" v="8144"/>
          <ac:graphicFrameMkLst>
            <pc:docMk/>
            <pc:sldMk cId="2956353300" sldId="2147377187"/>
            <ac:graphicFrameMk id="83" creationId="{E1084622-6F0F-A30B-B5C5-3280A732496F}"/>
          </ac:graphicFrameMkLst>
        </pc:graphicFrameChg>
        <pc:picChg chg="mod">
          <ac:chgData name="Carroll, Tyler" userId="69b673a0-6af4-4d8a-830b-550d1bbab5f8" providerId="ADAL" clId="{FA54304C-E424-4A4A-81D9-ABDA7518D7DD}" dt="2023-01-03T21:32:00.162" v="8145" actId="2711"/>
          <ac:picMkLst>
            <pc:docMk/>
            <pc:sldMk cId="2956353300" sldId="2147377187"/>
            <ac:picMk id="2" creationId="{F7CD9C39-CD17-F8FE-4CEB-F49588844F5F}"/>
          </ac:picMkLst>
        </pc:picChg>
        <pc:picChg chg="mod">
          <ac:chgData name="Carroll, Tyler" userId="69b673a0-6af4-4d8a-830b-550d1bbab5f8" providerId="ADAL" clId="{FA54304C-E424-4A4A-81D9-ABDA7518D7DD}" dt="2023-01-03T21:32:00.162" v="8145" actId="2711"/>
          <ac:picMkLst>
            <pc:docMk/>
            <pc:sldMk cId="2956353300" sldId="2147377187"/>
            <ac:picMk id="4" creationId="{4662768C-8627-743C-9BFD-B014B541AF36}"/>
          </ac:picMkLst>
        </pc:picChg>
        <pc:picChg chg="mod">
          <ac:chgData name="Carroll, Tyler" userId="69b673a0-6af4-4d8a-830b-550d1bbab5f8" providerId="ADAL" clId="{FA54304C-E424-4A4A-81D9-ABDA7518D7DD}" dt="2023-01-03T21:32:00.162" v="8145" actId="2711"/>
          <ac:picMkLst>
            <pc:docMk/>
            <pc:sldMk cId="2956353300" sldId="2147377187"/>
            <ac:picMk id="9" creationId="{00898AEA-B652-5825-7E55-ADCAD855E4EF}"/>
          </ac:picMkLst>
        </pc:picChg>
        <pc:picChg chg="mod">
          <ac:chgData name="Carroll, Tyler" userId="69b673a0-6af4-4d8a-830b-550d1bbab5f8" providerId="ADAL" clId="{FA54304C-E424-4A4A-81D9-ABDA7518D7DD}" dt="2023-01-03T21:32:00.162" v="8145" actId="2711"/>
          <ac:picMkLst>
            <pc:docMk/>
            <pc:sldMk cId="2956353300" sldId="2147377187"/>
            <ac:picMk id="11" creationId="{1C6A63BB-D96C-8592-F0E9-A2F36CD891B9}"/>
          </ac:picMkLst>
        </pc:picChg>
        <pc:picChg chg="mod">
          <ac:chgData name="Carroll, Tyler" userId="69b673a0-6af4-4d8a-830b-550d1bbab5f8" providerId="ADAL" clId="{FA54304C-E424-4A4A-81D9-ABDA7518D7DD}" dt="2023-01-03T21:32:00.162" v="8145" actId="2711"/>
          <ac:picMkLst>
            <pc:docMk/>
            <pc:sldMk cId="2956353300" sldId="2147377187"/>
            <ac:picMk id="17" creationId="{9ABB64D7-1B43-4497-44D8-A201AE130361}"/>
          </ac:picMkLst>
        </pc:picChg>
        <pc:picChg chg="mod">
          <ac:chgData name="Carroll, Tyler" userId="69b673a0-6af4-4d8a-830b-550d1bbab5f8" providerId="ADAL" clId="{FA54304C-E424-4A4A-81D9-ABDA7518D7DD}" dt="2023-01-03T21:32:00.162" v="8145" actId="2711"/>
          <ac:picMkLst>
            <pc:docMk/>
            <pc:sldMk cId="2956353300" sldId="2147377187"/>
            <ac:picMk id="19" creationId="{43BC29BF-23A6-BD99-337A-9979F7364282}"/>
          </ac:picMkLst>
        </pc:picChg>
        <pc:picChg chg="mod">
          <ac:chgData name="Carroll, Tyler" userId="69b673a0-6af4-4d8a-830b-550d1bbab5f8" providerId="ADAL" clId="{FA54304C-E424-4A4A-81D9-ABDA7518D7DD}" dt="2023-01-03T21:32:00.162" v="8145" actId="2711"/>
          <ac:picMkLst>
            <pc:docMk/>
            <pc:sldMk cId="2956353300" sldId="2147377187"/>
            <ac:picMk id="22" creationId="{CC98F8D2-414E-C3DB-4B38-466E8E77A007}"/>
          </ac:picMkLst>
        </pc:picChg>
        <pc:picChg chg="mod">
          <ac:chgData name="Carroll, Tyler" userId="69b673a0-6af4-4d8a-830b-550d1bbab5f8" providerId="ADAL" clId="{FA54304C-E424-4A4A-81D9-ABDA7518D7DD}" dt="2023-01-03T21:32:00.162" v="8145" actId="2711"/>
          <ac:picMkLst>
            <pc:docMk/>
            <pc:sldMk cId="2956353300" sldId="2147377187"/>
            <ac:picMk id="24" creationId="{DF87E46B-DCA0-69DC-D776-205159D0F9AE}"/>
          </ac:picMkLst>
        </pc:picChg>
        <pc:picChg chg="mod">
          <ac:chgData name="Carroll, Tyler" userId="69b673a0-6af4-4d8a-830b-550d1bbab5f8" providerId="ADAL" clId="{FA54304C-E424-4A4A-81D9-ABDA7518D7DD}" dt="2023-01-03T21:32:00.162" v="8145" actId="2711"/>
          <ac:picMkLst>
            <pc:docMk/>
            <pc:sldMk cId="2956353300" sldId="2147377187"/>
            <ac:picMk id="26" creationId="{C5B34DA9-E20E-E17B-29A9-219441ECA745}"/>
          </ac:picMkLst>
        </pc:picChg>
        <pc:picChg chg="mod">
          <ac:chgData name="Carroll, Tyler" userId="69b673a0-6af4-4d8a-830b-550d1bbab5f8" providerId="ADAL" clId="{FA54304C-E424-4A4A-81D9-ABDA7518D7DD}" dt="2023-01-03T21:32:00.162" v="8145" actId="2711"/>
          <ac:picMkLst>
            <pc:docMk/>
            <pc:sldMk cId="2956353300" sldId="2147377187"/>
            <ac:picMk id="36" creationId="{0999E77F-16C6-D696-2A39-E978247F7921}"/>
          </ac:picMkLst>
        </pc:picChg>
        <pc:picChg chg="mod">
          <ac:chgData name="Carroll, Tyler" userId="69b673a0-6af4-4d8a-830b-550d1bbab5f8" providerId="ADAL" clId="{FA54304C-E424-4A4A-81D9-ABDA7518D7DD}" dt="2023-01-03T21:32:00.162" v="8145" actId="2711"/>
          <ac:picMkLst>
            <pc:docMk/>
            <pc:sldMk cId="2956353300" sldId="2147377187"/>
            <ac:picMk id="38" creationId="{E2E5CECA-03DB-3371-2AD6-DB863E61ADFD}"/>
          </ac:picMkLst>
        </pc:picChg>
        <pc:picChg chg="mod">
          <ac:chgData name="Carroll, Tyler" userId="69b673a0-6af4-4d8a-830b-550d1bbab5f8" providerId="ADAL" clId="{FA54304C-E424-4A4A-81D9-ABDA7518D7DD}" dt="2023-01-03T21:32:00.162" v="8145" actId="2711"/>
          <ac:picMkLst>
            <pc:docMk/>
            <pc:sldMk cId="2956353300" sldId="2147377187"/>
            <ac:picMk id="40" creationId="{1B76B470-00F3-357B-337C-9663BE7C9D5F}"/>
          </ac:picMkLst>
        </pc:picChg>
        <pc:picChg chg="mod">
          <ac:chgData name="Carroll, Tyler" userId="69b673a0-6af4-4d8a-830b-550d1bbab5f8" providerId="ADAL" clId="{FA54304C-E424-4A4A-81D9-ABDA7518D7DD}" dt="2023-01-03T21:32:00.162" v="8145" actId="2711"/>
          <ac:picMkLst>
            <pc:docMk/>
            <pc:sldMk cId="2956353300" sldId="2147377187"/>
            <ac:picMk id="94" creationId="{8779A3D2-7477-32C2-B36B-3BB64F889CE1}"/>
          </ac:picMkLst>
        </pc:picChg>
        <pc:picChg chg="mod">
          <ac:chgData name="Carroll, Tyler" userId="69b673a0-6af4-4d8a-830b-550d1bbab5f8" providerId="ADAL" clId="{FA54304C-E424-4A4A-81D9-ABDA7518D7DD}" dt="2023-01-03T21:32:00.162" v="8145" actId="2711"/>
          <ac:picMkLst>
            <pc:docMk/>
            <pc:sldMk cId="2956353300" sldId="2147377187"/>
            <ac:picMk id="96" creationId="{17AC5E6F-573F-8EC9-C82A-AA3050458A6A}"/>
          </ac:picMkLst>
        </pc:picChg>
        <pc:cxnChg chg="mod">
          <ac:chgData name="Carroll, Tyler" userId="69b673a0-6af4-4d8a-830b-550d1bbab5f8" providerId="ADAL" clId="{FA54304C-E424-4A4A-81D9-ABDA7518D7DD}" dt="2023-01-03T21:32:00.162" v="8145" actId="2711"/>
          <ac:cxnSpMkLst>
            <pc:docMk/>
            <pc:sldMk cId="2956353300" sldId="2147377187"/>
            <ac:cxnSpMk id="15" creationId="{C839AA8A-D9CC-4D41-8AB0-B99DD8B8816C}"/>
          </ac:cxnSpMkLst>
        </pc:cxnChg>
        <pc:cxnChg chg="mod">
          <ac:chgData name="Carroll, Tyler" userId="69b673a0-6af4-4d8a-830b-550d1bbab5f8" providerId="ADAL" clId="{FA54304C-E424-4A4A-81D9-ABDA7518D7DD}" dt="2023-01-03T21:32:00.162" v="8145" actId="2711"/>
          <ac:cxnSpMkLst>
            <pc:docMk/>
            <pc:sldMk cId="2956353300" sldId="2147377187"/>
            <ac:cxnSpMk id="45" creationId="{6E014782-8CB5-9F52-F24E-E02ABAA432D6}"/>
          </ac:cxnSpMkLst>
        </pc:cxnChg>
        <pc:cxnChg chg="mod">
          <ac:chgData name="Carroll, Tyler" userId="69b673a0-6af4-4d8a-830b-550d1bbab5f8" providerId="ADAL" clId="{FA54304C-E424-4A4A-81D9-ABDA7518D7DD}" dt="2023-01-03T21:32:00.162" v="8145" actId="2711"/>
          <ac:cxnSpMkLst>
            <pc:docMk/>
            <pc:sldMk cId="2956353300" sldId="2147377187"/>
            <ac:cxnSpMk id="46" creationId="{0CE03CE7-1804-2C76-CE8E-52F020C6C4AA}"/>
          </ac:cxnSpMkLst>
        </pc:cxnChg>
        <pc:cxnChg chg="mod">
          <ac:chgData name="Carroll, Tyler" userId="69b673a0-6af4-4d8a-830b-550d1bbab5f8" providerId="ADAL" clId="{FA54304C-E424-4A4A-81D9-ABDA7518D7DD}" dt="2023-01-03T21:32:00.162" v="8145" actId="2711"/>
          <ac:cxnSpMkLst>
            <pc:docMk/>
            <pc:sldMk cId="2956353300" sldId="2147377187"/>
            <ac:cxnSpMk id="51" creationId="{B82581C2-1E95-67D2-6451-895F1F9FB640}"/>
          </ac:cxnSpMkLst>
        </pc:cxnChg>
        <pc:cxnChg chg="mod">
          <ac:chgData name="Carroll, Tyler" userId="69b673a0-6af4-4d8a-830b-550d1bbab5f8" providerId="ADAL" clId="{FA54304C-E424-4A4A-81D9-ABDA7518D7DD}" dt="2023-01-03T21:32:00.162" v="8145" actId="2711"/>
          <ac:cxnSpMkLst>
            <pc:docMk/>
            <pc:sldMk cId="2956353300" sldId="2147377187"/>
            <ac:cxnSpMk id="54" creationId="{3AC71133-4132-7B58-AAE5-4DF08D402048}"/>
          </ac:cxnSpMkLst>
        </pc:cxnChg>
      </pc:sldChg>
      <pc:sldChg chg="add del ord">
        <pc:chgData name="Carroll, Tyler" userId="69b673a0-6af4-4d8a-830b-550d1bbab5f8" providerId="ADAL" clId="{FA54304C-E424-4A4A-81D9-ABDA7518D7DD}" dt="2023-01-03T17:43:40.694" v="3342" actId="47"/>
        <pc:sldMkLst>
          <pc:docMk/>
          <pc:sldMk cId="1457592174" sldId="2147377188"/>
        </pc:sldMkLst>
      </pc:sldChg>
      <pc:sldChg chg="modSp add del mod ord">
        <pc:chgData name="Carroll, Tyler" userId="69b673a0-6af4-4d8a-830b-550d1bbab5f8" providerId="ADAL" clId="{FA54304C-E424-4A4A-81D9-ABDA7518D7DD}" dt="2023-01-03T18:04:31.736" v="4006" actId="47"/>
        <pc:sldMkLst>
          <pc:docMk/>
          <pc:sldMk cId="3595087558" sldId="2147377188"/>
        </pc:sldMkLst>
        <pc:spChg chg="mod">
          <ac:chgData name="Carroll, Tyler" userId="69b673a0-6af4-4d8a-830b-550d1bbab5f8" providerId="ADAL" clId="{FA54304C-E424-4A4A-81D9-ABDA7518D7DD}" dt="2023-01-03T17:49:11.560" v="3397" actId="20577"/>
          <ac:spMkLst>
            <pc:docMk/>
            <pc:sldMk cId="3595087558" sldId="2147377188"/>
            <ac:spMk id="34" creationId="{12803A7B-6AA4-18BD-B125-37DC56557618}"/>
          </ac:spMkLst>
        </pc:spChg>
      </pc:sldChg>
      <pc:sldChg chg="addSp delSp modSp add del mod ord setBg">
        <pc:chgData name="Carroll, Tyler" userId="69b673a0-6af4-4d8a-830b-550d1bbab5f8" providerId="ADAL" clId="{FA54304C-E424-4A4A-81D9-ABDA7518D7DD}" dt="2023-01-03T20:16:10.162" v="6703" actId="47"/>
        <pc:sldMkLst>
          <pc:docMk/>
          <pc:sldMk cId="820024524" sldId="2147377189"/>
        </pc:sldMkLst>
        <pc:spChg chg="add mod ord">
          <ac:chgData name="Carroll, Tyler" userId="69b673a0-6af4-4d8a-830b-550d1bbab5f8" providerId="ADAL" clId="{FA54304C-E424-4A4A-81D9-ABDA7518D7DD}" dt="2023-01-03T17:57:08.025" v="3581"/>
          <ac:spMkLst>
            <pc:docMk/>
            <pc:sldMk cId="820024524" sldId="2147377189"/>
            <ac:spMk id="2" creationId="{5D0C5652-0AF5-CA32-EE60-E0F8EEAAE565}"/>
          </ac:spMkLst>
        </pc:spChg>
        <pc:spChg chg="add mod">
          <ac:chgData name="Carroll, Tyler" userId="69b673a0-6af4-4d8a-830b-550d1bbab5f8" providerId="ADAL" clId="{FA54304C-E424-4A4A-81D9-ABDA7518D7DD}" dt="2023-01-03T18:09:27.662" v="4097"/>
          <ac:spMkLst>
            <pc:docMk/>
            <pc:sldMk cId="820024524" sldId="2147377189"/>
            <ac:spMk id="3" creationId="{1916AE7E-E4CD-A38D-B7F4-18B3975E8161}"/>
          </ac:spMkLst>
        </pc:spChg>
        <pc:spChg chg="mod ord">
          <ac:chgData name="Carroll, Tyler" userId="69b673a0-6af4-4d8a-830b-550d1bbab5f8" providerId="ADAL" clId="{FA54304C-E424-4A4A-81D9-ABDA7518D7DD}" dt="2023-01-03T18:31:11.816" v="6503" actId="1035"/>
          <ac:spMkLst>
            <pc:docMk/>
            <pc:sldMk cId="820024524" sldId="2147377189"/>
            <ac:spMk id="5" creationId="{85EDB4D3-DEA2-8501-79FC-1BF1F8C2DC0E}"/>
          </ac:spMkLst>
        </pc:spChg>
        <pc:spChg chg="mod ord">
          <ac:chgData name="Carroll, Tyler" userId="69b673a0-6af4-4d8a-830b-550d1bbab5f8" providerId="ADAL" clId="{FA54304C-E424-4A4A-81D9-ABDA7518D7DD}" dt="2023-01-03T17:57:08.025" v="3579"/>
          <ac:spMkLst>
            <pc:docMk/>
            <pc:sldMk cId="820024524" sldId="2147377189"/>
            <ac:spMk id="34" creationId="{12803A7B-6AA4-18BD-B125-37DC56557618}"/>
          </ac:spMkLst>
        </pc:spChg>
        <pc:graphicFrameChg chg="mod">
          <ac:chgData name="Carroll, Tyler" userId="69b673a0-6af4-4d8a-830b-550d1bbab5f8" providerId="ADAL" clId="{FA54304C-E424-4A4A-81D9-ABDA7518D7DD}" dt="2023-01-03T17:57:08.025" v="3589"/>
          <ac:graphicFrameMkLst>
            <pc:docMk/>
            <pc:sldMk cId="820024524" sldId="2147377189"/>
            <ac:graphicFrameMk id="19" creationId="{F0546E54-0B83-D8F6-623B-E1C158DBD3C6}"/>
          </ac:graphicFrameMkLst>
        </pc:graphicFrameChg>
        <pc:cxnChg chg="add mod">
          <ac:chgData name="Carroll, Tyler" userId="69b673a0-6af4-4d8a-830b-550d1bbab5f8" providerId="ADAL" clId="{FA54304C-E424-4A4A-81D9-ABDA7518D7DD}" dt="2023-01-03T18:31:00.516" v="6496"/>
          <ac:cxnSpMkLst>
            <pc:docMk/>
            <pc:sldMk cId="820024524" sldId="2147377189"/>
            <ac:cxnSpMk id="4" creationId="{5E3BE8CF-4A39-F58D-5DED-BD1BBC54A3CE}"/>
          </ac:cxnSpMkLst>
        </pc:cxnChg>
        <pc:cxnChg chg="del mod ord">
          <ac:chgData name="Carroll, Tyler" userId="69b673a0-6af4-4d8a-830b-550d1bbab5f8" providerId="ADAL" clId="{FA54304C-E424-4A4A-81D9-ABDA7518D7DD}" dt="2023-01-03T17:57:16.483" v="3592" actId="478"/>
          <ac:cxnSpMkLst>
            <pc:docMk/>
            <pc:sldMk cId="820024524" sldId="2147377189"/>
            <ac:cxnSpMk id="24" creationId="{FFBF2AD6-CFEC-F103-1A33-AF56FD87D34A}"/>
          </ac:cxnSpMkLst>
        </pc:cxnChg>
        <pc:cxnChg chg="mod ord">
          <ac:chgData name="Carroll, Tyler" userId="69b673a0-6af4-4d8a-830b-550d1bbab5f8" providerId="ADAL" clId="{FA54304C-E424-4A4A-81D9-ABDA7518D7DD}" dt="2023-01-03T17:58:10.612" v="3716" actId="1035"/>
          <ac:cxnSpMkLst>
            <pc:docMk/>
            <pc:sldMk cId="820024524" sldId="2147377189"/>
            <ac:cxnSpMk id="25" creationId="{E4B7990E-9015-87F9-408E-A578B56C6656}"/>
          </ac:cxnSpMkLst>
        </pc:cxnChg>
      </pc:sldChg>
      <pc:sldChg chg="add del ord">
        <pc:chgData name="Carroll, Tyler" userId="69b673a0-6af4-4d8a-830b-550d1bbab5f8" providerId="ADAL" clId="{FA54304C-E424-4A4A-81D9-ABDA7518D7DD}" dt="2023-01-03T18:02:34.946" v="3863" actId="47"/>
        <pc:sldMkLst>
          <pc:docMk/>
          <pc:sldMk cId="2053024042" sldId="2147377190"/>
        </pc:sldMkLst>
      </pc:sldChg>
      <pc:sldChg chg="modSp add del mod ord">
        <pc:chgData name="Carroll, Tyler" userId="69b673a0-6af4-4d8a-830b-550d1bbab5f8" providerId="ADAL" clId="{FA54304C-E424-4A4A-81D9-ABDA7518D7DD}" dt="2023-01-03T18:02:50.735" v="3904" actId="47"/>
        <pc:sldMkLst>
          <pc:docMk/>
          <pc:sldMk cId="1127993605" sldId="2147377191"/>
        </pc:sldMkLst>
        <pc:spChg chg="mod">
          <ac:chgData name="Carroll, Tyler" userId="69b673a0-6af4-4d8a-830b-550d1bbab5f8" providerId="ADAL" clId="{FA54304C-E424-4A4A-81D9-ABDA7518D7DD}" dt="2023-01-03T18:00:31.102" v="3796" actId="20577"/>
          <ac:spMkLst>
            <pc:docMk/>
            <pc:sldMk cId="1127993605" sldId="2147377191"/>
            <ac:spMk id="5" creationId="{85EDB4D3-DEA2-8501-79FC-1BF1F8C2DC0E}"/>
          </ac:spMkLst>
        </pc:spChg>
      </pc:sldChg>
      <pc:sldChg chg="modSp add del mod ord">
        <pc:chgData name="Carroll, Tyler" userId="69b673a0-6af4-4d8a-830b-550d1bbab5f8" providerId="ADAL" clId="{FA54304C-E424-4A4A-81D9-ABDA7518D7DD}" dt="2023-01-03T18:03:07.276" v="3953" actId="47"/>
        <pc:sldMkLst>
          <pc:docMk/>
          <pc:sldMk cId="2851332085" sldId="2147377192"/>
        </pc:sldMkLst>
        <pc:spChg chg="mod">
          <ac:chgData name="Carroll, Tyler" userId="69b673a0-6af4-4d8a-830b-550d1bbab5f8" providerId="ADAL" clId="{FA54304C-E424-4A4A-81D9-ABDA7518D7DD}" dt="2023-01-03T18:01:15.317" v="3855" actId="20577"/>
          <ac:spMkLst>
            <pc:docMk/>
            <pc:sldMk cId="2851332085" sldId="2147377192"/>
            <ac:spMk id="5" creationId="{85EDB4D3-DEA2-8501-79FC-1BF1F8C2DC0E}"/>
          </ac:spMkLst>
        </pc:spChg>
      </pc:sldChg>
      <pc:sldChg chg="addSp modSp add mod ord modNotesTx">
        <pc:chgData name="Carroll, Tyler" userId="69b673a0-6af4-4d8a-830b-550d1bbab5f8" providerId="ADAL" clId="{FA54304C-E424-4A4A-81D9-ABDA7518D7DD}" dt="2023-01-04T18:32:00.622" v="12336" actId="20577"/>
        <pc:sldMkLst>
          <pc:docMk/>
          <pc:sldMk cId="3702619295" sldId="2147377193"/>
        </pc:sldMkLst>
        <pc:spChg chg="add mod">
          <ac:chgData name="Carroll, Tyler" userId="69b673a0-6af4-4d8a-830b-550d1bbab5f8" providerId="ADAL" clId="{FA54304C-E424-4A4A-81D9-ABDA7518D7DD}" dt="2023-01-04T18:02:10.674" v="11826" actId="108"/>
          <ac:spMkLst>
            <pc:docMk/>
            <pc:sldMk cId="3702619295" sldId="2147377193"/>
            <ac:spMk id="3" creationId="{D643A3EC-E3A7-5015-0C5F-0270C4D48340}"/>
          </ac:spMkLst>
        </pc:spChg>
        <pc:spChg chg="mod">
          <ac:chgData name="Carroll, Tyler" userId="69b673a0-6af4-4d8a-830b-550d1bbab5f8" providerId="ADAL" clId="{FA54304C-E424-4A4A-81D9-ABDA7518D7DD}" dt="2023-01-03T18:30:56.212" v="6495" actId="14100"/>
          <ac:spMkLst>
            <pc:docMk/>
            <pc:sldMk cId="3702619295" sldId="2147377193"/>
            <ac:spMk id="5" creationId="{85EDB4D3-DEA2-8501-79FC-1BF1F8C2DC0E}"/>
          </ac:spMkLst>
        </pc:spChg>
        <pc:cxnChg chg="add mod">
          <ac:chgData name="Carroll, Tyler" userId="69b673a0-6af4-4d8a-830b-550d1bbab5f8" providerId="ADAL" clId="{FA54304C-E424-4A4A-81D9-ABDA7518D7DD}" dt="2023-01-03T18:30:49.699" v="6493"/>
          <ac:cxnSpMkLst>
            <pc:docMk/>
            <pc:sldMk cId="3702619295" sldId="2147377193"/>
            <ac:cxnSpMk id="4" creationId="{8B7F2EFE-6707-E284-442D-8964DA98B4B2}"/>
          </ac:cxnSpMkLst>
        </pc:cxnChg>
      </pc:sldChg>
      <pc:sldChg chg="addSp modSp add mod ord modNotesTx">
        <pc:chgData name="Carroll, Tyler" userId="69b673a0-6af4-4d8a-830b-550d1bbab5f8" providerId="ADAL" clId="{FA54304C-E424-4A4A-81D9-ABDA7518D7DD}" dt="2023-01-04T18:35:38.596" v="12441" actId="115"/>
        <pc:sldMkLst>
          <pc:docMk/>
          <pc:sldMk cId="2076977976" sldId="2147377194"/>
        </pc:sldMkLst>
        <pc:spChg chg="add mod">
          <ac:chgData name="Carroll, Tyler" userId="69b673a0-6af4-4d8a-830b-550d1bbab5f8" providerId="ADAL" clId="{FA54304C-E424-4A4A-81D9-ABDA7518D7DD}" dt="2023-01-04T18:02:50.931" v="11831" actId="108"/>
          <ac:spMkLst>
            <pc:docMk/>
            <pc:sldMk cId="2076977976" sldId="2147377194"/>
            <ac:spMk id="3" creationId="{5FA50E4A-362B-BED5-CDD5-9D9A78E568FF}"/>
          </ac:spMkLst>
        </pc:spChg>
        <pc:spChg chg="mod">
          <ac:chgData name="Carroll, Tyler" userId="69b673a0-6af4-4d8a-830b-550d1bbab5f8" providerId="ADAL" clId="{FA54304C-E424-4A4A-81D9-ABDA7518D7DD}" dt="2023-01-03T18:30:33.498" v="6491" actId="1035"/>
          <ac:spMkLst>
            <pc:docMk/>
            <pc:sldMk cId="2076977976" sldId="2147377194"/>
            <ac:spMk id="5" creationId="{85EDB4D3-DEA2-8501-79FC-1BF1F8C2DC0E}"/>
          </ac:spMkLst>
        </pc:spChg>
        <pc:cxnChg chg="add mod">
          <ac:chgData name="Carroll, Tyler" userId="69b673a0-6af4-4d8a-830b-550d1bbab5f8" providerId="ADAL" clId="{FA54304C-E424-4A4A-81D9-ABDA7518D7DD}" dt="2023-01-03T18:30:36.900" v="6492" actId="14100"/>
          <ac:cxnSpMkLst>
            <pc:docMk/>
            <pc:sldMk cId="2076977976" sldId="2147377194"/>
            <ac:cxnSpMk id="4" creationId="{3CA1A720-E815-656A-FB9C-1956C1953BD3}"/>
          </ac:cxnSpMkLst>
        </pc:cxnChg>
      </pc:sldChg>
      <pc:sldChg chg="addSp modSp add mod ord modNotesTx">
        <pc:chgData name="Carroll, Tyler" userId="69b673a0-6af4-4d8a-830b-550d1bbab5f8" providerId="ADAL" clId="{FA54304C-E424-4A4A-81D9-ABDA7518D7DD}" dt="2023-01-04T18:37:09.207" v="12487" actId="20577"/>
        <pc:sldMkLst>
          <pc:docMk/>
          <pc:sldMk cId="501081971" sldId="2147377195"/>
        </pc:sldMkLst>
        <pc:spChg chg="add mod">
          <ac:chgData name="Carroll, Tyler" userId="69b673a0-6af4-4d8a-830b-550d1bbab5f8" providerId="ADAL" clId="{FA54304C-E424-4A4A-81D9-ABDA7518D7DD}" dt="2023-01-04T18:03:40.132" v="11834" actId="2711"/>
          <ac:spMkLst>
            <pc:docMk/>
            <pc:sldMk cId="501081971" sldId="2147377195"/>
            <ac:spMk id="3" creationId="{77BF0979-9489-84B2-16A8-A0ED4F7102EB}"/>
          </ac:spMkLst>
        </pc:spChg>
        <pc:spChg chg="mod">
          <ac:chgData name="Carroll, Tyler" userId="69b673a0-6af4-4d8a-830b-550d1bbab5f8" providerId="ADAL" clId="{FA54304C-E424-4A4A-81D9-ABDA7518D7DD}" dt="2023-01-03T18:30:16.800" v="6484" actId="14100"/>
          <ac:spMkLst>
            <pc:docMk/>
            <pc:sldMk cId="501081971" sldId="2147377195"/>
            <ac:spMk id="5" creationId="{85EDB4D3-DEA2-8501-79FC-1BF1F8C2DC0E}"/>
          </ac:spMkLst>
        </pc:spChg>
        <pc:cxnChg chg="add mod">
          <ac:chgData name="Carroll, Tyler" userId="69b673a0-6af4-4d8a-830b-550d1bbab5f8" providerId="ADAL" clId="{FA54304C-E424-4A4A-81D9-ABDA7518D7DD}" dt="2023-01-03T18:30:10.766" v="6482" actId="1076"/>
          <ac:cxnSpMkLst>
            <pc:docMk/>
            <pc:sldMk cId="501081971" sldId="2147377195"/>
            <ac:cxnSpMk id="4" creationId="{33D380BF-A767-4536-1E70-6A46C0A2AF23}"/>
          </ac:cxnSpMkLst>
        </pc:cxnChg>
      </pc:sldChg>
      <pc:sldChg chg="addSp modSp add mod ord modNotesTx">
        <pc:chgData name="Carroll, Tyler" userId="69b673a0-6af4-4d8a-830b-550d1bbab5f8" providerId="ADAL" clId="{FA54304C-E424-4A4A-81D9-ABDA7518D7DD}" dt="2023-01-04T18:38:14.211" v="12508" actId="20577"/>
        <pc:sldMkLst>
          <pc:docMk/>
          <pc:sldMk cId="3890712578" sldId="2147377196"/>
        </pc:sldMkLst>
        <pc:spChg chg="add mod">
          <ac:chgData name="Carroll, Tyler" userId="69b673a0-6af4-4d8a-830b-550d1bbab5f8" providerId="ADAL" clId="{FA54304C-E424-4A4A-81D9-ABDA7518D7DD}" dt="2023-01-04T18:03:55.780" v="11836" actId="2711"/>
          <ac:spMkLst>
            <pc:docMk/>
            <pc:sldMk cId="3890712578" sldId="2147377196"/>
            <ac:spMk id="3" creationId="{33991DD9-00C3-9B24-B7FE-5749A6E8C2D0}"/>
          </ac:spMkLst>
        </pc:spChg>
        <pc:spChg chg="mod">
          <ac:chgData name="Carroll, Tyler" userId="69b673a0-6af4-4d8a-830b-550d1bbab5f8" providerId="ADAL" clId="{FA54304C-E424-4A4A-81D9-ABDA7518D7DD}" dt="2023-01-03T18:05:05.632" v="4078" actId="20577"/>
          <ac:spMkLst>
            <pc:docMk/>
            <pc:sldMk cId="3890712578" sldId="2147377196"/>
            <ac:spMk id="5" creationId="{85EDB4D3-DEA2-8501-79FC-1BF1F8C2DC0E}"/>
          </ac:spMkLst>
        </pc:spChg>
        <pc:cxnChg chg="add mod">
          <ac:chgData name="Carroll, Tyler" userId="69b673a0-6af4-4d8a-830b-550d1bbab5f8" providerId="ADAL" clId="{FA54304C-E424-4A4A-81D9-ABDA7518D7DD}" dt="2023-01-03T18:30:04.731" v="6480" actId="14100"/>
          <ac:cxnSpMkLst>
            <pc:docMk/>
            <pc:sldMk cId="3890712578" sldId="2147377196"/>
            <ac:cxnSpMk id="4" creationId="{7B26ADCC-C5D2-DB98-2184-E442A328AA79}"/>
          </ac:cxnSpMkLst>
        </pc:cxnChg>
      </pc:sldChg>
      <pc:sldChg chg="addSp modSp add mod ord modNotesTx">
        <pc:chgData name="Carroll, Tyler" userId="69b673a0-6af4-4d8a-830b-550d1bbab5f8" providerId="ADAL" clId="{FA54304C-E424-4A4A-81D9-ABDA7518D7DD}" dt="2023-01-04T18:40:53.948" v="12632" actId="20577"/>
        <pc:sldMkLst>
          <pc:docMk/>
          <pc:sldMk cId="4240705522" sldId="2147377197"/>
        </pc:sldMkLst>
        <pc:spChg chg="add mod">
          <ac:chgData name="Carroll, Tyler" userId="69b673a0-6af4-4d8a-830b-550d1bbab5f8" providerId="ADAL" clId="{FA54304C-E424-4A4A-81D9-ABDA7518D7DD}" dt="2023-01-04T18:04:26.263" v="11843" actId="2711"/>
          <ac:spMkLst>
            <pc:docMk/>
            <pc:sldMk cId="4240705522" sldId="2147377197"/>
            <ac:spMk id="3" creationId="{20ABA388-E7FC-1E5B-72E1-C83F779E0DF4}"/>
          </ac:spMkLst>
        </pc:spChg>
        <pc:spChg chg="mod">
          <ac:chgData name="Carroll, Tyler" userId="69b673a0-6af4-4d8a-830b-550d1bbab5f8" providerId="ADAL" clId="{FA54304C-E424-4A4A-81D9-ABDA7518D7DD}" dt="2023-01-03T18:04:53.961" v="4059" actId="20577"/>
          <ac:spMkLst>
            <pc:docMk/>
            <pc:sldMk cId="4240705522" sldId="2147377197"/>
            <ac:spMk id="5" creationId="{85EDB4D3-DEA2-8501-79FC-1BF1F8C2DC0E}"/>
          </ac:spMkLst>
        </pc:spChg>
        <pc:cxnChg chg="add mod">
          <ac:chgData name="Carroll, Tyler" userId="69b673a0-6af4-4d8a-830b-550d1bbab5f8" providerId="ADAL" clId="{FA54304C-E424-4A4A-81D9-ABDA7518D7DD}" dt="2023-01-03T18:29:53.612" v="6459" actId="14100"/>
          <ac:cxnSpMkLst>
            <pc:docMk/>
            <pc:sldMk cId="4240705522" sldId="2147377197"/>
            <ac:cxnSpMk id="4" creationId="{DADD8E75-7B2E-F91E-5988-D1E949BA42B2}"/>
          </ac:cxnSpMkLst>
        </pc:cxnChg>
      </pc:sldChg>
      <pc:sldChg chg="addSp modSp add mod ord">
        <pc:chgData name="Carroll, Tyler" userId="69b673a0-6af4-4d8a-830b-550d1bbab5f8" providerId="ADAL" clId="{FA54304C-E424-4A4A-81D9-ABDA7518D7DD}" dt="2023-01-04T16:16:21.259" v="11329"/>
        <pc:sldMkLst>
          <pc:docMk/>
          <pc:sldMk cId="3982402027" sldId="2147377198"/>
        </pc:sldMkLst>
        <pc:spChg chg="add mod">
          <ac:chgData name="Carroll, Tyler" userId="69b673a0-6af4-4d8a-830b-550d1bbab5f8" providerId="ADAL" clId="{FA54304C-E424-4A4A-81D9-ABDA7518D7DD}" dt="2023-01-04T15:58:35.303" v="11264" actId="2711"/>
          <ac:spMkLst>
            <pc:docMk/>
            <pc:sldMk cId="3982402027" sldId="2147377198"/>
            <ac:spMk id="3" creationId="{E5F47DA8-4ADC-32EF-4827-FCFBCD51CC91}"/>
          </ac:spMkLst>
        </pc:spChg>
        <pc:spChg chg="mod">
          <ac:chgData name="Carroll, Tyler" userId="69b673a0-6af4-4d8a-830b-550d1bbab5f8" providerId="ADAL" clId="{FA54304C-E424-4A4A-81D9-ABDA7518D7DD}" dt="2023-01-04T15:58:11.784" v="11262" actId="14100"/>
          <ac:spMkLst>
            <pc:docMk/>
            <pc:sldMk cId="3982402027" sldId="2147377198"/>
            <ac:spMk id="5" creationId="{85EDB4D3-DEA2-8501-79FC-1BF1F8C2DC0E}"/>
          </ac:spMkLst>
        </pc:spChg>
        <pc:cxnChg chg="add mod">
          <ac:chgData name="Carroll, Tyler" userId="69b673a0-6af4-4d8a-830b-550d1bbab5f8" providerId="ADAL" clId="{FA54304C-E424-4A4A-81D9-ABDA7518D7DD}" dt="2023-01-04T15:58:14.921" v="11263" actId="14100"/>
          <ac:cxnSpMkLst>
            <pc:docMk/>
            <pc:sldMk cId="3982402027" sldId="2147377198"/>
            <ac:cxnSpMk id="6" creationId="{850564CB-1D2B-934D-6BF6-EC4E611E1A8C}"/>
          </ac:cxnSpMkLst>
        </pc:cxnChg>
      </pc:sldChg>
      <pc:sldChg chg="addSp delSp modSp add del mod">
        <pc:chgData name="Carroll, Tyler" userId="69b673a0-6af4-4d8a-830b-550d1bbab5f8" providerId="ADAL" clId="{FA54304C-E424-4A4A-81D9-ABDA7518D7DD}" dt="2023-01-05T04:14:45.518" v="13064" actId="47"/>
        <pc:sldMkLst>
          <pc:docMk/>
          <pc:sldMk cId="3282043652" sldId="2147377199"/>
        </pc:sldMkLst>
        <pc:spChg chg="add del mod modVis">
          <ac:chgData name="Carroll, Tyler" userId="69b673a0-6af4-4d8a-830b-550d1bbab5f8" providerId="ADAL" clId="{FA54304C-E424-4A4A-81D9-ABDA7518D7DD}" dt="2023-01-03T22:14:37.712" v="10469"/>
          <ac:spMkLst>
            <pc:docMk/>
            <pc:sldMk cId="3282043652" sldId="2147377199"/>
            <ac:spMk id="2" creationId="{732594C7-B0B6-BB59-E589-1D29E3271C45}"/>
          </ac:spMkLst>
        </pc:spChg>
        <pc:spChg chg="add del mod modVis">
          <ac:chgData name="Carroll, Tyler" userId="69b673a0-6af4-4d8a-830b-550d1bbab5f8" providerId="ADAL" clId="{FA54304C-E424-4A4A-81D9-ABDA7518D7DD}" dt="2023-01-03T22:14:43.783" v="10514"/>
          <ac:spMkLst>
            <pc:docMk/>
            <pc:sldMk cId="3282043652" sldId="2147377199"/>
            <ac:spMk id="4" creationId="{A17CF526-5CD4-DF8B-9F79-D41CCE9C6B2E}"/>
          </ac:spMkLst>
        </pc:spChg>
        <pc:spChg chg="add del mod modVis">
          <ac:chgData name="Carroll, Tyler" userId="69b673a0-6af4-4d8a-830b-550d1bbab5f8" providerId="ADAL" clId="{FA54304C-E424-4A4A-81D9-ABDA7518D7DD}" dt="2023-01-03T22:14:45.273" v="10559"/>
          <ac:spMkLst>
            <pc:docMk/>
            <pc:sldMk cId="3282043652" sldId="2147377199"/>
            <ac:spMk id="5" creationId="{7184FCBF-E5B5-FF4E-5C7F-D3B5C719CF0E}"/>
          </ac:spMkLst>
        </pc:spChg>
        <pc:spChg chg="mod">
          <ac:chgData name="Carroll, Tyler" userId="69b673a0-6af4-4d8a-830b-550d1bbab5f8" providerId="ADAL" clId="{FA54304C-E424-4A4A-81D9-ABDA7518D7DD}" dt="2023-01-04T18:09:32.646" v="11859" actId="2711"/>
          <ac:spMkLst>
            <pc:docMk/>
            <pc:sldMk cId="3282043652" sldId="2147377199"/>
            <ac:spMk id="6" creationId="{7EB90EA3-F4DD-F4CE-DBEE-B5517961E983}"/>
          </ac:spMkLst>
        </pc:spChg>
        <pc:spChg chg="mod">
          <ac:chgData name="Carroll, Tyler" userId="69b673a0-6af4-4d8a-830b-550d1bbab5f8" providerId="ADAL" clId="{FA54304C-E424-4A4A-81D9-ABDA7518D7DD}" dt="2023-01-03T22:14:45.241" v="10518" actId="948"/>
          <ac:spMkLst>
            <pc:docMk/>
            <pc:sldMk cId="3282043652" sldId="2147377199"/>
            <ac:spMk id="7" creationId="{C1D0C9A9-0B17-3C86-E142-1ACADB775522}"/>
          </ac:spMkLst>
        </pc:spChg>
        <pc:graphicFrameChg chg="mod">
          <ac:chgData name="Carroll, Tyler" userId="69b673a0-6af4-4d8a-830b-550d1bbab5f8" providerId="ADAL" clId="{FA54304C-E424-4A4A-81D9-ABDA7518D7DD}" dt="2023-01-03T22:14:45.274" v="10561"/>
          <ac:graphicFrameMkLst>
            <pc:docMk/>
            <pc:sldMk cId="3282043652" sldId="2147377199"/>
            <ac:graphicFrameMk id="10" creationId="{0EA29452-1D63-0C2D-8C74-01A7AD89C458}"/>
          </ac:graphicFrameMkLst>
        </pc:graphicFrameChg>
      </pc:sldChg>
      <pc:sldChg chg="addSp delSp modSp add mod setBg modNotesTx">
        <pc:chgData name="Carroll, Tyler" userId="69b673a0-6af4-4d8a-830b-550d1bbab5f8" providerId="ADAL" clId="{FA54304C-E424-4A4A-81D9-ABDA7518D7DD}" dt="2023-01-05T03:01:14.007" v="13057"/>
        <pc:sldMkLst>
          <pc:docMk/>
          <pc:sldMk cId="3092091105" sldId="2147377200"/>
        </pc:sldMkLst>
        <pc:spChg chg="mod">
          <ac:chgData name="Carroll, Tyler" userId="69b673a0-6af4-4d8a-830b-550d1bbab5f8" providerId="ADAL" clId="{FA54304C-E424-4A4A-81D9-ABDA7518D7DD}" dt="2023-01-05T03:01:07.321" v="12907" actId="1036"/>
          <ac:spMkLst>
            <pc:docMk/>
            <pc:sldMk cId="3092091105" sldId="2147377200"/>
            <ac:spMk id="2" creationId="{FB7F8B9B-F682-88AB-41EF-2B2E86DCABEA}"/>
          </ac:spMkLst>
        </pc:spChg>
        <pc:spChg chg="mod">
          <ac:chgData name="Carroll, Tyler" userId="69b673a0-6af4-4d8a-830b-550d1bbab5f8" providerId="ADAL" clId="{FA54304C-E424-4A4A-81D9-ABDA7518D7DD}" dt="2023-01-05T03:01:13.976" v="13014" actId="948"/>
          <ac:spMkLst>
            <pc:docMk/>
            <pc:sldMk cId="3092091105" sldId="2147377200"/>
            <ac:spMk id="3" creationId="{D2C3D60C-DE1C-0DF0-7EF7-0069ABF6B7EB}"/>
          </ac:spMkLst>
        </pc:spChg>
        <pc:spChg chg="add del mod modVis">
          <ac:chgData name="Carroll, Tyler" userId="69b673a0-6af4-4d8a-830b-550d1bbab5f8" providerId="ADAL" clId="{FA54304C-E424-4A4A-81D9-ABDA7518D7DD}" dt="2023-01-03T20:13:53.707" v="6637"/>
          <ac:spMkLst>
            <pc:docMk/>
            <pc:sldMk cId="3092091105" sldId="2147377200"/>
            <ac:spMk id="4" creationId="{281143CF-1B0A-91C2-8406-CEE86F48025B}"/>
          </ac:spMkLst>
        </pc:spChg>
        <pc:spChg chg="add del mod modVis">
          <ac:chgData name="Carroll, Tyler" userId="69b673a0-6af4-4d8a-830b-550d1bbab5f8" providerId="ADAL" clId="{FA54304C-E424-4A4A-81D9-ABDA7518D7DD}" dt="2023-01-05T03:01:11.721" v="12950"/>
          <ac:spMkLst>
            <pc:docMk/>
            <pc:sldMk cId="3092091105" sldId="2147377200"/>
            <ac:spMk id="4" creationId="{598B7DD2-9A3A-B5C9-46A7-C1B75074B719}"/>
          </ac:spMkLst>
        </pc:spChg>
        <pc:spChg chg="add del mod modVis">
          <ac:chgData name="Carroll, Tyler" userId="69b673a0-6af4-4d8a-830b-550d1bbab5f8" providerId="ADAL" clId="{FA54304C-E424-4A4A-81D9-ABDA7518D7DD}" dt="2023-01-03T20:47:17.799" v="7297"/>
          <ac:spMkLst>
            <pc:docMk/>
            <pc:sldMk cId="3092091105" sldId="2147377200"/>
            <ac:spMk id="4" creationId="{FE13455A-C604-E8D7-D39E-B49E79E795B9}"/>
          </ac:spMkLst>
        </pc:spChg>
        <pc:spChg chg="add del mod modVis">
          <ac:chgData name="Carroll, Tyler" userId="69b673a0-6af4-4d8a-830b-550d1bbab5f8" providerId="ADAL" clId="{FA54304C-E424-4A4A-81D9-ABDA7518D7DD}" dt="2023-01-05T03:01:12.633" v="13006"/>
          <ac:spMkLst>
            <pc:docMk/>
            <pc:sldMk cId="3092091105" sldId="2147377200"/>
            <ac:spMk id="6" creationId="{B62480DB-A726-8BB5-C2AA-15A523966AB2}"/>
          </ac:spMkLst>
        </pc:spChg>
        <pc:spChg chg="add del mod modVis">
          <ac:chgData name="Carroll, Tyler" userId="69b673a0-6af4-4d8a-830b-550d1bbab5f8" providerId="ADAL" clId="{FA54304C-E424-4A4A-81D9-ABDA7518D7DD}" dt="2023-01-05T03:01:14.005" v="13055"/>
          <ac:spMkLst>
            <pc:docMk/>
            <pc:sldMk cId="3092091105" sldId="2147377200"/>
            <ac:spMk id="8" creationId="{156F4A04-9B0D-15B9-1C49-810B569BEDD8}"/>
          </ac:spMkLst>
        </pc:spChg>
        <pc:graphicFrameChg chg="mod">
          <ac:chgData name="Carroll, Tyler" userId="69b673a0-6af4-4d8a-830b-550d1bbab5f8" providerId="ADAL" clId="{FA54304C-E424-4A4A-81D9-ABDA7518D7DD}" dt="2023-01-05T03:01:14.007" v="13057"/>
          <ac:graphicFrameMkLst>
            <pc:docMk/>
            <pc:sldMk cId="3092091105" sldId="2147377200"/>
            <ac:graphicFrameMk id="7" creationId="{CF669542-599B-704E-D515-E0469F4E210C}"/>
          </ac:graphicFrameMkLst>
        </pc:graphicFrameChg>
      </pc:sldChg>
      <pc:sldChg chg="addSp delSp modSp add mod setBg modNotesTx">
        <pc:chgData name="Carroll, Tyler" userId="69b673a0-6af4-4d8a-830b-550d1bbab5f8" providerId="ADAL" clId="{FA54304C-E424-4A4A-81D9-ABDA7518D7DD}" dt="2023-01-04T19:10:35.191" v="12787" actId="20577"/>
        <pc:sldMkLst>
          <pc:docMk/>
          <pc:sldMk cId="3395738824" sldId="2147377201"/>
        </pc:sldMkLst>
        <pc:spChg chg="mod">
          <ac:chgData name="Carroll, Tyler" userId="69b673a0-6af4-4d8a-830b-550d1bbab5f8" providerId="ADAL" clId="{FA54304C-E424-4A4A-81D9-ABDA7518D7DD}" dt="2023-01-04T19:10:35.191" v="12787" actId="20577"/>
          <ac:spMkLst>
            <pc:docMk/>
            <pc:sldMk cId="3395738824" sldId="2147377201"/>
            <ac:spMk id="2" creationId="{FB7F8B9B-F682-88AB-41EF-2B2E86DCABEA}"/>
          </ac:spMkLst>
        </pc:spChg>
        <pc:spChg chg="mod">
          <ac:chgData name="Carroll, Tyler" userId="69b673a0-6af4-4d8a-830b-550d1bbab5f8" providerId="ADAL" clId="{FA54304C-E424-4A4A-81D9-ABDA7518D7DD}" dt="2023-01-03T20:47:22.161" v="7302" actId="948"/>
          <ac:spMkLst>
            <pc:docMk/>
            <pc:sldMk cId="3395738824" sldId="2147377201"/>
            <ac:spMk id="3" creationId="{D2C3D60C-DE1C-0DF0-7EF7-0069ABF6B7EB}"/>
          </ac:spMkLst>
        </pc:spChg>
        <pc:spChg chg="add del mod modVis">
          <ac:chgData name="Carroll, Tyler" userId="69b673a0-6af4-4d8a-830b-550d1bbab5f8" providerId="ADAL" clId="{FA54304C-E424-4A4A-81D9-ABDA7518D7DD}" dt="2023-01-03T20:13:53.711" v="6645"/>
          <ac:spMkLst>
            <pc:docMk/>
            <pc:sldMk cId="3395738824" sldId="2147377201"/>
            <ac:spMk id="4" creationId="{22F12944-FA80-407B-080D-F083F974F475}"/>
          </ac:spMkLst>
        </pc:spChg>
        <pc:spChg chg="add del mod modVis">
          <ac:chgData name="Carroll, Tyler" userId="69b673a0-6af4-4d8a-830b-550d1bbab5f8" providerId="ADAL" clId="{FA54304C-E424-4A4A-81D9-ABDA7518D7DD}" dt="2023-01-03T20:47:22.192" v="7343"/>
          <ac:spMkLst>
            <pc:docMk/>
            <pc:sldMk cId="3395738824" sldId="2147377201"/>
            <ac:spMk id="4" creationId="{F8E6C6F6-2E76-3DFF-686A-A72C50EB05AE}"/>
          </ac:spMkLst>
        </pc:spChg>
        <pc:graphicFrameChg chg="mod">
          <ac:chgData name="Carroll, Tyler" userId="69b673a0-6af4-4d8a-830b-550d1bbab5f8" providerId="ADAL" clId="{FA54304C-E424-4A4A-81D9-ABDA7518D7DD}" dt="2023-01-03T20:47:22.194" v="7345"/>
          <ac:graphicFrameMkLst>
            <pc:docMk/>
            <pc:sldMk cId="3395738824" sldId="2147377201"/>
            <ac:graphicFrameMk id="7" creationId="{CF669542-599B-704E-D515-E0469F4E210C}"/>
          </ac:graphicFrameMkLst>
        </pc:graphicFrameChg>
      </pc:sldChg>
      <pc:sldChg chg="addSp delSp modSp add del mod ord setBg">
        <pc:chgData name="Carroll, Tyler" userId="69b673a0-6af4-4d8a-830b-550d1bbab5f8" providerId="ADAL" clId="{FA54304C-E424-4A4A-81D9-ABDA7518D7DD}" dt="2023-01-03T21:43:40.331" v="8417" actId="47"/>
        <pc:sldMkLst>
          <pc:docMk/>
          <pc:sldMk cId="1579720979" sldId="2147377202"/>
        </pc:sldMkLst>
        <pc:spChg chg="mod">
          <ac:chgData name="Carroll, Tyler" userId="69b673a0-6af4-4d8a-830b-550d1bbab5f8" providerId="ADAL" clId="{FA54304C-E424-4A4A-81D9-ABDA7518D7DD}" dt="2023-01-03T20:46:55.671" v="7240" actId="21"/>
          <ac:spMkLst>
            <pc:docMk/>
            <pc:sldMk cId="1579720979" sldId="2147377202"/>
            <ac:spMk id="2" creationId="{FB7F8B9B-F682-88AB-41EF-2B2E86DCABEA}"/>
          </ac:spMkLst>
        </pc:spChg>
        <pc:spChg chg="mod">
          <ac:chgData name="Carroll, Tyler" userId="69b673a0-6af4-4d8a-830b-550d1bbab5f8" providerId="ADAL" clId="{FA54304C-E424-4A4A-81D9-ABDA7518D7DD}" dt="2023-01-03T20:13:53.651" v="6558" actId="948"/>
          <ac:spMkLst>
            <pc:docMk/>
            <pc:sldMk cId="1579720979" sldId="2147377202"/>
            <ac:spMk id="3" creationId="{D2C3D60C-DE1C-0DF0-7EF7-0069ABF6B7EB}"/>
          </ac:spMkLst>
        </pc:spChg>
        <pc:spChg chg="add del mod modVis">
          <ac:chgData name="Carroll, Tyler" userId="69b673a0-6af4-4d8a-830b-550d1bbab5f8" providerId="ADAL" clId="{FA54304C-E424-4A4A-81D9-ABDA7518D7DD}" dt="2023-01-03T20:13:53.709" v="6641"/>
          <ac:spMkLst>
            <pc:docMk/>
            <pc:sldMk cId="1579720979" sldId="2147377202"/>
            <ac:spMk id="4" creationId="{896B292E-9325-502C-6636-E73FA559C854}"/>
          </ac:spMkLst>
        </pc:spChg>
        <pc:graphicFrameChg chg="mod">
          <ac:chgData name="Carroll, Tyler" userId="69b673a0-6af4-4d8a-830b-550d1bbab5f8" providerId="ADAL" clId="{FA54304C-E424-4A4A-81D9-ABDA7518D7DD}" dt="2023-01-03T20:13:53.711" v="6643"/>
          <ac:graphicFrameMkLst>
            <pc:docMk/>
            <pc:sldMk cId="1579720979" sldId="2147377202"/>
            <ac:graphicFrameMk id="7" creationId="{CF669542-599B-704E-D515-E0469F4E210C}"/>
          </ac:graphicFrameMkLst>
        </pc:graphicFrameChg>
      </pc:sldChg>
      <pc:sldChg chg="modSp add mod modNotesTx">
        <pc:chgData name="Carroll, Tyler" userId="69b673a0-6af4-4d8a-830b-550d1bbab5f8" providerId="ADAL" clId="{FA54304C-E424-4A4A-81D9-ABDA7518D7DD}" dt="2023-01-05T01:44:07.187" v="12888" actId="20577"/>
        <pc:sldMkLst>
          <pc:docMk/>
          <pc:sldMk cId="1636048210" sldId="2147377203"/>
        </pc:sldMkLst>
        <pc:spChg chg="mod">
          <ac:chgData name="Carroll, Tyler" userId="69b673a0-6af4-4d8a-830b-550d1bbab5f8" providerId="ADAL" clId="{FA54304C-E424-4A4A-81D9-ABDA7518D7DD}" dt="2023-01-05T01:44:07.187" v="12888" actId="20577"/>
          <ac:spMkLst>
            <pc:docMk/>
            <pc:sldMk cId="1636048210" sldId="2147377203"/>
            <ac:spMk id="17" creationId="{E46960AA-7173-5FAA-964E-3E06AA69FACB}"/>
          </ac:spMkLst>
        </pc:spChg>
      </pc:sldChg>
      <pc:sldChg chg="modSp add mod modNotesTx">
        <pc:chgData name="Carroll, Tyler" userId="69b673a0-6af4-4d8a-830b-550d1bbab5f8" providerId="ADAL" clId="{FA54304C-E424-4A4A-81D9-ABDA7518D7DD}" dt="2023-01-04T16:22:13.454" v="11346" actId="20577"/>
        <pc:sldMkLst>
          <pc:docMk/>
          <pc:sldMk cId="1301017497" sldId="2147377204"/>
        </pc:sldMkLst>
        <pc:spChg chg="mod">
          <ac:chgData name="Carroll, Tyler" userId="69b673a0-6af4-4d8a-830b-550d1bbab5f8" providerId="ADAL" clId="{FA54304C-E424-4A4A-81D9-ABDA7518D7DD}" dt="2023-01-04T15:56:32.320" v="11207" actId="20577"/>
          <ac:spMkLst>
            <pc:docMk/>
            <pc:sldMk cId="1301017497" sldId="2147377204"/>
            <ac:spMk id="2" creationId="{AEF5B551-3BE1-4B9C-8E49-8582FF788A9F}"/>
          </ac:spMkLst>
        </pc:spChg>
        <pc:spChg chg="mod">
          <ac:chgData name="Carroll, Tyler" userId="69b673a0-6af4-4d8a-830b-550d1bbab5f8" providerId="ADAL" clId="{FA54304C-E424-4A4A-81D9-ABDA7518D7DD}" dt="2023-01-03T21:47:16.265" v="8605" actId="20577"/>
          <ac:spMkLst>
            <pc:docMk/>
            <pc:sldMk cId="1301017497" sldId="2147377204"/>
            <ac:spMk id="4" creationId="{FDAB3763-2778-18E4-AA37-7002C60AE8BF}"/>
          </ac:spMkLst>
        </pc:spChg>
      </pc:sldChg>
      <pc:sldChg chg="modSp add mod ord modNotesTx">
        <pc:chgData name="Carroll, Tyler" userId="69b673a0-6af4-4d8a-830b-550d1bbab5f8" providerId="ADAL" clId="{FA54304C-E424-4A4A-81D9-ABDA7518D7DD}" dt="2023-01-04T16:29:34.565" v="11446" actId="20577"/>
        <pc:sldMkLst>
          <pc:docMk/>
          <pc:sldMk cId="3714815895" sldId="2147377205"/>
        </pc:sldMkLst>
        <pc:spChg chg="mod">
          <ac:chgData name="Carroll, Tyler" userId="69b673a0-6af4-4d8a-830b-550d1bbab5f8" providerId="ADAL" clId="{FA54304C-E424-4A4A-81D9-ABDA7518D7DD}" dt="2023-01-03T20:36:47.662" v="7179" actId="20577"/>
          <ac:spMkLst>
            <pc:docMk/>
            <pc:sldMk cId="3714815895" sldId="2147377205"/>
            <ac:spMk id="5" creationId="{85EDB4D3-DEA2-8501-79FC-1BF1F8C2DC0E}"/>
          </ac:spMkLst>
        </pc:spChg>
      </pc:sldChg>
      <pc:sldChg chg="addSp delSp modSp add mod setBg addCm delCm modCm modNotesTx">
        <pc:chgData name="Carroll, Tyler" userId="69b673a0-6af4-4d8a-830b-550d1bbab5f8" providerId="ADAL" clId="{FA54304C-E424-4A4A-81D9-ABDA7518D7DD}" dt="2023-01-04T18:45:58.820" v="12686" actId="20577"/>
        <pc:sldMkLst>
          <pc:docMk/>
          <pc:sldMk cId="3907382155" sldId="2147377206"/>
        </pc:sldMkLst>
        <pc:spChg chg="add del mod modVis">
          <ac:chgData name="Carroll, Tyler" userId="69b673a0-6af4-4d8a-830b-550d1bbab5f8" providerId="ADAL" clId="{FA54304C-E424-4A4A-81D9-ABDA7518D7DD}" dt="2023-01-03T20:16:04.166" v="6700"/>
          <ac:spMkLst>
            <pc:docMk/>
            <pc:sldMk cId="3907382155" sldId="2147377206"/>
            <ac:spMk id="2" creationId="{6880A45A-EA15-DC7E-D17D-5E7B1FEDE743}"/>
          </ac:spMkLst>
        </pc:spChg>
        <pc:spChg chg="add del mod modVis">
          <ac:chgData name="Carroll, Tyler" userId="69b673a0-6af4-4d8a-830b-550d1bbab5f8" providerId="ADAL" clId="{FA54304C-E424-4A4A-81D9-ABDA7518D7DD}" dt="2023-01-03T21:34:26.205" v="8195"/>
          <ac:spMkLst>
            <pc:docMk/>
            <pc:sldMk cId="3907382155" sldId="2147377206"/>
            <ac:spMk id="2" creationId="{8D95363C-B7B6-BF10-D9DE-26E1C7DDBAC5}"/>
          </ac:spMkLst>
        </pc:spChg>
        <pc:spChg chg="mod">
          <ac:chgData name="Carroll, Tyler" userId="69b673a0-6af4-4d8a-830b-550d1bbab5f8" providerId="ADAL" clId="{FA54304C-E424-4A4A-81D9-ABDA7518D7DD}" dt="2023-01-03T21:34:26.157" v="8154" actId="948"/>
          <ac:spMkLst>
            <pc:docMk/>
            <pc:sldMk cId="3907382155" sldId="2147377206"/>
            <ac:spMk id="3" creationId="{655A26EB-2B87-44CF-9189-EED39DA9EE8F}"/>
          </ac:spMkLst>
        </pc:spChg>
        <pc:spChg chg="mod">
          <ac:chgData name="Carroll, Tyler" userId="69b673a0-6af4-4d8a-830b-550d1bbab5f8" providerId="ADAL" clId="{FA54304C-E424-4A4A-81D9-ABDA7518D7DD}" dt="2023-01-04T15:56:49.636" v="11220" actId="20577"/>
          <ac:spMkLst>
            <pc:docMk/>
            <pc:sldMk cId="3907382155" sldId="2147377206"/>
            <ac:spMk id="32" creationId="{75939A2B-9DB6-154C-7C1D-D371F454402B}"/>
          </ac:spMkLst>
        </pc:spChg>
        <pc:graphicFrameChg chg="mod">
          <ac:chgData name="Carroll, Tyler" userId="69b673a0-6af4-4d8a-830b-550d1bbab5f8" providerId="ADAL" clId="{FA54304C-E424-4A4A-81D9-ABDA7518D7DD}" dt="2023-01-03T21:34:26.208" v="8197"/>
          <ac:graphicFrameMkLst>
            <pc:docMk/>
            <pc:sldMk cId="3907382155" sldId="2147377206"/>
            <ac:graphicFrameMk id="48" creationId="{D674F820-824B-DACF-AE83-EA143A0702C1}"/>
          </ac:graphicFrameMkLst>
        </pc:graphicFrameChg>
      </pc:sldChg>
      <pc:sldChg chg="addSp delSp modSp add mod setBg modNotesTx">
        <pc:chgData name="Carroll, Tyler" userId="69b673a0-6af4-4d8a-830b-550d1bbab5f8" providerId="ADAL" clId="{FA54304C-E424-4A4A-81D9-ABDA7518D7DD}" dt="2023-01-04T18:46:36.922" v="12727"/>
        <pc:sldMkLst>
          <pc:docMk/>
          <pc:sldMk cId="374217251" sldId="2147377207"/>
        </pc:sldMkLst>
        <pc:spChg chg="mod">
          <ac:chgData name="Carroll, Tyler" userId="69b673a0-6af4-4d8a-830b-550d1bbab5f8" providerId="ADAL" clId="{FA54304C-E424-4A4A-81D9-ABDA7518D7DD}" dt="2023-01-04T15:57:07.293" v="11231" actId="20577"/>
          <ac:spMkLst>
            <pc:docMk/>
            <pc:sldMk cId="374217251" sldId="2147377207"/>
            <ac:spMk id="2" creationId="{FB7F8B9B-F682-88AB-41EF-2B2E86DCABEA}"/>
          </ac:spMkLst>
        </pc:spChg>
        <pc:spChg chg="add del mod modVis">
          <ac:chgData name="Carroll, Tyler" userId="69b673a0-6af4-4d8a-830b-550d1bbab5f8" providerId="ADAL" clId="{FA54304C-E424-4A4A-81D9-ABDA7518D7DD}" dt="2023-01-03T20:27:28.986" v="6857"/>
          <ac:spMkLst>
            <pc:docMk/>
            <pc:sldMk cId="374217251" sldId="2147377207"/>
            <ac:spMk id="3" creationId="{7CC093A3-997B-750A-8CF9-E999509BFD55}"/>
          </ac:spMkLst>
        </pc:spChg>
        <pc:spChg chg="mod">
          <ac:chgData name="Carroll, Tyler" userId="69b673a0-6af4-4d8a-830b-550d1bbab5f8" providerId="ADAL" clId="{FA54304C-E424-4A4A-81D9-ABDA7518D7DD}" dt="2023-01-03T20:27:28.941" v="6816" actId="948"/>
          <ac:spMkLst>
            <pc:docMk/>
            <pc:sldMk cId="374217251" sldId="2147377207"/>
            <ac:spMk id="10" creationId="{2F8B7626-8D49-68AE-F415-34DB604D5F0C}"/>
          </ac:spMkLst>
        </pc:spChg>
        <pc:graphicFrameChg chg="mod">
          <ac:chgData name="Carroll, Tyler" userId="69b673a0-6af4-4d8a-830b-550d1bbab5f8" providerId="ADAL" clId="{FA54304C-E424-4A4A-81D9-ABDA7518D7DD}" dt="2023-01-03T20:27:28.987" v="6859"/>
          <ac:graphicFrameMkLst>
            <pc:docMk/>
            <pc:sldMk cId="374217251" sldId="2147377207"/>
            <ac:graphicFrameMk id="7" creationId="{CF669542-599B-704E-D515-E0469F4E210C}"/>
          </ac:graphicFrameMkLst>
        </pc:graphicFrameChg>
      </pc:sldChg>
      <pc:sldChg chg="addSp delSp modSp add del mod setBg">
        <pc:chgData name="Carroll, Tyler" userId="69b673a0-6af4-4d8a-830b-550d1bbab5f8" providerId="ADAL" clId="{FA54304C-E424-4A4A-81D9-ABDA7518D7DD}" dt="2023-01-03T20:42:11.524" v="7192" actId="47"/>
        <pc:sldMkLst>
          <pc:docMk/>
          <pc:sldMk cId="1771599385" sldId="2147377208"/>
        </pc:sldMkLst>
        <pc:spChg chg="mod">
          <ac:chgData name="Carroll, Tyler" userId="69b673a0-6af4-4d8a-830b-550d1bbab5f8" providerId="ADAL" clId="{FA54304C-E424-4A4A-81D9-ABDA7518D7DD}" dt="2023-01-03T20:41:10.126" v="7187" actId="400"/>
          <ac:spMkLst>
            <pc:docMk/>
            <pc:sldMk cId="1771599385" sldId="2147377208"/>
            <ac:spMk id="2" creationId="{FB7F8B9B-F682-88AB-41EF-2B2E86DCABEA}"/>
          </ac:spMkLst>
        </pc:spChg>
        <pc:spChg chg="add del mod modVis">
          <ac:chgData name="Carroll, Tyler" userId="69b673a0-6af4-4d8a-830b-550d1bbab5f8" providerId="ADAL" clId="{FA54304C-E424-4A4A-81D9-ABDA7518D7DD}" dt="2023-01-03T20:28:11.140" v="6906"/>
          <ac:spMkLst>
            <pc:docMk/>
            <pc:sldMk cId="1771599385" sldId="2147377208"/>
            <ac:spMk id="3" creationId="{C29C1F49-4280-068C-5440-FF8752A0E453}"/>
          </ac:spMkLst>
        </pc:spChg>
        <pc:spChg chg="mod">
          <ac:chgData name="Carroll, Tyler" userId="69b673a0-6af4-4d8a-830b-550d1bbab5f8" providerId="ADAL" clId="{FA54304C-E424-4A4A-81D9-ABDA7518D7DD}" dt="2023-01-03T20:28:11.054" v="6865" actId="948"/>
          <ac:spMkLst>
            <pc:docMk/>
            <pc:sldMk cId="1771599385" sldId="2147377208"/>
            <ac:spMk id="10" creationId="{2F8B7626-8D49-68AE-F415-34DB604D5F0C}"/>
          </ac:spMkLst>
        </pc:spChg>
        <pc:graphicFrameChg chg="mod">
          <ac:chgData name="Carroll, Tyler" userId="69b673a0-6af4-4d8a-830b-550d1bbab5f8" providerId="ADAL" clId="{FA54304C-E424-4A4A-81D9-ABDA7518D7DD}" dt="2023-01-03T20:28:11.144" v="6908"/>
          <ac:graphicFrameMkLst>
            <pc:docMk/>
            <pc:sldMk cId="1771599385" sldId="2147377208"/>
            <ac:graphicFrameMk id="7" creationId="{CF669542-599B-704E-D515-E0469F4E210C}"/>
          </ac:graphicFrameMkLst>
        </pc:graphicFrameChg>
      </pc:sldChg>
      <pc:sldChg chg="addSp delSp modSp add mod setBg modNotesTx">
        <pc:chgData name="Carroll, Tyler" userId="69b673a0-6af4-4d8a-830b-550d1bbab5f8" providerId="ADAL" clId="{FA54304C-E424-4A4A-81D9-ABDA7518D7DD}" dt="2023-01-04T18:46:55.449" v="12734"/>
        <pc:sldMkLst>
          <pc:docMk/>
          <pc:sldMk cId="2734459530" sldId="2147377209"/>
        </pc:sldMkLst>
        <pc:spChg chg="mod">
          <ac:chgData name="Carroll, Tyler" userId="69b673a0-6af4-4d8a-830b-550d1bbab5f8" providerId="ADAL" clId="{FA54304C-E424-4A4A-81D9-ABDA7518D7DD}" dt="2023-01-03T21:40:12.653" v="8355" actId="20577"/>
          <ac:spMkLst>
            <pc:docMk/>
            <pc:sldMk cId="2734459530" sldId="2147377209"/>
            <ac:spMk id="2" creationId="{FB7F8B9B-F682-88AB-41EF-2B2E86DCABEA}"/>
          </ac:spMkLst>
        </pc:spChg>
        <pc:spChg chg="add del mod modVis">
          <ac:chgData name="Carroll, Tyler" userId="69b673a0-6af4-4d8a-830b-550d1bbab5f8" providerId="ADAL" clId="{FA54304C-E424-4A4A-81D9-ABDA7518D7DD}" dt="2023-01-03T20:28:26.213" v="6951"/>
          <ac:spMkLst>
            <pc:docMk/>
            <pc:sldMk cId="2734459530" sldId="2147377209"/>
            <ac:spMk id="3" creationId="{3B72E3AF-F5B1-57CB-8B1B-2065ABE49DC6}"/>
          </ac:spMkLst>
        </pc:spChg>
        <pc:spChg chg="mod">
          <ac:chgData name="Carroll, Tyler" userId="69b673a0-6af4-4d8a-830b-550d1bbab5f8" providerId="ADAL" clId="{FA54304C-E424-4A4A-81D9-ABDA7518D7DD}" dt="2023-01-03T21:40:53.269" v="8356" actId="1076"/>
          <ac:spMkLst>
            <pc:docMk/>
            <pc:sldMk cId="2734459530" sldId="2147377209"/>
            <ac:spMk id="4" creationId="{C8E4F9ED-32D7-0FD5-C63D-EE864638CB28}"/>
          </ac:spMkLst>
        </pc:spChg>
        <pc:spChg chg="mod">
          <ac:chgData name="Carroll, Tyler" userId="69b673a0-6af4-4d8a-830b-550d1bbab5f8" providerId="ADAL" clId="{FA54304C-E424-4A4A-81D9-ABDA7518D7DD}" dt="2023-01-03T20:28:26.181" v="6910" actId="948"/>
          <ac:spMkLst>
            <pc:docMk/>
            <pc:sldMk cId="2734459530" sldId="2147377209"/>
            <ac:spMk id="10" creationId="{2F8B7626-8D49-68AE-F415-34DB604D5F0C}"/>
          </ac:spMkLst>
        </pc:spChg>
        <pc:graphicFrameChg chg="mod">
          <ac:chgData name="Carroll, Tyler" userId="69b673a0-6af4-4d8a-830b-550d1bbab5f8" providerId="ADAL" clId="{FA54304C-E424-4A4A-81D9-ABDA7518D7DD}" dt="2023-01-03T20:28:26.215" v="6953"/>
          <ac:graphicFrameMkLst>
            <pc:docMk/>
            <pc:sldMk cId="2734459530" sldId="2147377209"/>
            <ac:graphicFrameMk id="7" creationId="{CF669542-599B-704E-D515-E0469F4E210C}"/>
          </ac:graphicFrameMkLst>
        </pc:graphicFrameChg>
      </pc:sldChg>
      <pc:sldChg chg="addSp delSp modSp add del mod setBg">
        <pc:chgData name="Carroll, Tyler" userId="69b673a0-6af4-4d8a-830b-550d1bbab5f8" providerId="ADAL" clId="{FA54304C-E424-4A4A-81D9-ABDA7518D7DD}" dt="2023-01-05T04:14:33.076" v="13060" actId="47"/>
        <pc:sldMkLst>
          <pc:docMk/>
          <pc:sldMk cId="4223368509" sldId="2147377210"/>
        </pc:sldMkLst>
        <pc:spChg chg="mod">
          <ac:chgData name="Carroll, Tyler" userId="69b673a0-6af4-4d8a-830b-550d1bbab5f8" providerId="ADAL" clId="{FA54304C-E424-4A4A-81D9-ABDA7518D7DD}" dt="2023-01-03T22:12:40.337" v="9080" actId="948"/>
          <ac:spMkLst>
            <pc:docMk/>
            <pc:sldMk cId="4223368509" sldId="2147377210"/>
            <ac:spMk id="3" creationId="{7C31B922-FCD1-4880-8A44-04E5BDD484BA}"/>
          </ac:spMkLst>
        </pc:spChg>
        <pc:spChg chg="mod">
          <ac:chgData name="Carroll, Tyler" userId="69b673a0-6af4-4d8a-830b-550d1bbab5f8" providerId="ADAL" clId="{FA54304C-E424-4A4A-81D9-ABDA7518D7DD}" dt="2023-01-04T15:58:57.456" v="11268" actId="2711"/>
          <ac:spMkLst>
            <pc:docMk/>
            <pc:sldMk cId="4223368509" sldId="2147377210"/>
            <ac:spMk id="5" creationId="{94CFD307-6DAB-473D-AF83-06BB85B99DE9}"/>
          </ac:spMkLst>
        </pc:spChg>
        <pc:spChg chg="mod">
          <ac:chgData name="Carroll, Tyler" userId="69b673a0-6af4-4d8a-830b-550d1bbab5f8" providerId="ADAL" clId="{FA54304C-E424-4A4A-81D9-ABDA7518D7DD}" dt="2023-01-04T14:55:18.620" v="11155" actId="6549"/>
          <ac:spMkLst>
            <pc:docMk/>
            <pc:sldMk cId="4223368509" sldId="2147377210"/>
            <ac:spMk id="89" creationId="{E8E1A298-8652-40F6-A6E0-EA0BEB4109B1}"/>
          </ac:spMkLst>
        </pc:spChg>
        <pc:spChg chg="add del mod modVis">
          <ac:chgData name="Carroll, Tyler" userId="69b673a0-6af4-4d8a-830b-550d1bbab5f8" providerId="ADAL" clId="{FA54304C-E424-4A4A-81D9-ABDA7518D7DD}" dt="2023-01-03T21:51:23.215" v="8840"/>
          <ac:spMkLst>
            <pc:docMk/>
            <pc:sldMk cId="4223368509" sldId="2147377210"/>
            <ac:spMk id="90" creationId="{0D73866C-3A89-FD17-D99F-F1823F3258DD}"/>
          </ac:spMkLst>
        </pc:spChg>
        <pc:spChg chg="add del mod modVis">
          <ac:chgData name="Carroll, Tyler" userId="69b673a0-6af4-4d8a-830b-550d1bbab5f8" providerId="ADAL" clId="{FA54304C-E424-4A4A-81D9-ABDA7518D7DD}" dt="2023-01-03T22:12:40.376" v="9121"/>
          <ac:spMkLst>
            <pc:docMk/>
            <pc:sldMk cId="4223368509" sldId="2147377210"/>
            <ac:spMk id="91" creationId="{D43D606D-8795-81C0-EFBB-1258E9226F1E}"/>
          </ac:spMkLst>
        </pc:spChg>
        <pc:spChg chg="mod">
          <ac:chgData name="Carroll, Tyler" userId="69b673a0-6af4-4d8a-830b-550d1bbab5f8" providerId="ADAL" clId="{FA54304C-E424-4A4A-81D9-ABDA7518D7DD}" dt="2023-01-04T14:54:53.975" v="11142" actId="1076"/>
          <ac:spMkLst>
            <pc:docMk/>
            <pc:sldMk cId="4223368509" sldId="2147377210"/>
            <ac:spMk id="96" creationId="{440A45BA-284B-4D59-AEF4-7D0A18BA9F36}"/>
          </ac:spMkLst>
        </pc:spChg>
        <pc:grpChg chg="add del">
          <ac:chgData name="Carroll, Tyler" userId="69b673a0-6af4-4d8a-830b-550d1bbab5f8" providerId="ADAL" clId="{FA54304C-E424-4A4A-81D9-ABDA7518D7DD}" dt="2023-01-04T14:55:18.084" v="11154" actId="478"/>
          <ac:grpSpMkLst>
            <pc:docMk/>
            <pc:sldMk cId="4223368509" sldId="2147377210"/>
            <ac:grpSpMk id="82" creationId="{AFB724E9-FDBA-4BD8-B750-E33C12A70AA5}"/>
          </ac:grpSpMkLst>
        </pc:grpChg>
        <pc:grpChg chg="add del">
          <ac:chgData name="Carroll, Tyler" userId="69b673a0-6af4-4d8a-830b-550d1bbab5f8" providerId="ADAL" clId="{FA54304C-E424-4A4A-81D9-ABDA7518D7DD}" dt="2023-01-04T14:55:19.077" v="11156" actId="478"/>
          <ac:grpSpMkLst>
            <pc:docMk/>
            <pc:sldMk cId="4223368509" sldId="2147377210"/>
            <ac:grpSpMk id="86" creationId="{B68C7E5B-99E2-413B-B6C5-2445E2CBFD70}"/>
          </ac:grpSpMkLst>
        </pc:grpChg>
        <pc:graphicFrameChg chg="mod">
          <ac:chgData name="Carroll, Tyler" userId="69b673a0-6af4-4d8a-830b-550d1bbab5f8" providerId="ADAL" clId="{FA54304C-E424-4A4A-81D9-ABDA7518D7DD}" dt="2023-01-03T22:12:40.379" v="9123"/>
          <ac:graphicFrameMkLst>
            <pc:docMk/>
            <pc:sldMk cId="4223368509" sldId="2147377210"/>
            <ac:graphicFrameMk id="83" creationId="{E1084622-6F0F-A30B-B5C5-3280A732496F}"/>
          </ac:graphicFrameMkLst>
        </pc:graphicFrameChg>
        <pc:picChg chg="add del mod modCrop">
          <ac:chgData name="Carroll, Tyler" userId="69b673a0-6af4-4d8a-830b-550d1bbab5f8" providerId="ADAL" clId="{FA54304C-E424-4A4A-81D9-ABDA7518D7DD}" dt="2023-01-04T14:55:17.859" v="11153"/>
          <ac:picMkLst>
            <pc:docMk/>
            <pc:sldMk cId="4223368509" sldId="2147377210"/>
            <ac:picMk id="98" creationId="{F73856F2-0325-D475-427E-D4EF8751DE21}"/>
          </ac:picMkLst>
        </pc:picChg>
      </pc:sldChg>
      <pc:sldChg chg="add modNotesTx">
        <pc:chgData name="Carroll, Tyler" userId="69b673a0-6af4-4d8a-830b-550d1bbab5f8" providerId="ADAL" clId="{FA54304C-E424-4A4A-81D9-ABDA7518D7DD}" dt="2023-01-04T18:12:32.546" v="11899" actId="20577"/>
        <pc:sldMkLst>
          <pc:docMk/>
          <pc:sldMk cId="943168414" sldId="2147377211"/>
        </pc:sldMkLst>
      </pc:sldChg>
      <pc:sldChg chg="addSp delSp modSp add del mod setBg">
        <pc:chgData name="Carroll, Tyler" userId="69b673a0-6af4-4d8a-830b-550d1bbab5f8" providerId="ADAL" clId="{FA54304C-E424-4A4A-81D9-ABDA7518D7DD}" dt="2023-01-05T04:14:41.158" v="13062" actId="47"/>
        <pc:sldMkLst>
          <pc:docMk/>
          <pc:sldMk cId="940790774" sldId="2147377212"/>
        </pc:sldMkLst>
        <pc:spChg chg="add del mod modVis">
          <ac:chgData name="Carroll, Tyler" userId="69b673a0-6af4-4d8a-830b-550d1bbab5f8" providerId="ADAL" clId="{FA54304C-E424-4A4A-81D9-ABDA7518D7DD}" dt="2023-01-03T22:13:56.578" v="9994"/>
          <ac:spMkLst>
            <pc:docMk/>
            <pc:sldMk cId="940790774" sldId="2147377212"/>
            <ac:spMk id="2" creationId="{FEBACC6B-9399-4562-70EB-3C6612F54C36}"/>
          </ac:spMkLst>
        </pc:spChg>
        <pc:spChg chg="mod">
          <ac:chgData name="Carroll, Tyler" userId="69b673a0-6af4-4d8a-830b-550d1bbab5f8" providerId="ADAL" clId="{FA54304C-E424-4A4A-81D9-ABDA7518D7DD}" dt="2023-01-04T17:59:57.867" v="11777" actId="948"/>
          <ac:spMkLst>
            <pc:docMk/>
            <pc:sldMk cId="940790774" sldId="2147377212"/>
            <ac:spMk id="3" creationId="{42420021-C4B9-4BEC-B0DC-007E9052F9F5}"/>
          </ac:spMkLst>
        </pc:spChg>
        <pc:spChg chg="mod">
          <ac:chgData name="Carroll, Tyler" userId="69b673a0-6af4-4d8a-830b-550d1bbab5f8" providerId="ADAL" clId="{FA54304C-E424-4A4A-81D9-ABDA7518D7DD}" dt="2023-01-04T17:59:57.346" v="11776"/>
          <ac:spMkLst>
            <pc:docMk/>
            <pc:sldMk cId="940790774" sldId="2147377212"/>
            <ac:spMk id="4" creationId="{C6524CEA-9BF5-468B-A203-D9C7664CB49F}"/>
          </ac:spMkLst>
        </pc:spChg>
        <pc:spChg chg="mod">
          <ac:chgData name="Carroll, Tyler" userId="69b673a0-6af4-4d8a-830b-550d1bbab5f8" providerId="ADAL" clId="{FA54304C-E424-4A4A-81D9-ABDA7518D7DD}" dt="2023-01-04T18:09:06.121" v="11855" actId="2711"/>
          <ac:spMkLst>
            <pc:docMk/>
            <pc:sldMk cId="940790774" sldId="2147377212"/>
            <ac:spMk id="5" creationId="{0217BA43-2843-4F2B-8234-4E1D5013B5E0}"/>
          </ac:spMkLst>
        </pc:spChg>
        <pc:spChg chg="add del mod modVis">
          <ac:chgData name="Carroll, Tyler" userId="69b673a0-6af4-4d8a-830b-550d1bbab5f8" providerId="ADAL" clId="{FA54304C-E424-4A4A-81D9-ABDA7518D7DD}" dt="2023-01-03T22:13:58.678" v="10049"/>
          <ac:spMkLst>
            <pc:docMk/>
            <pc:sldMk cId="940790774" sldId="2147377212"/>
            <ac:spMk id="6" creationId="{C5A42522-E660-311D-C6F3-11229B061356}"/>
          </ac:spMkLst>
        </pc:spChg>
        <pc:spChg chg="add del mod modVis">
          <ac:chgData name="Carroll, Tyler" userId="69b673a0-6af4-4d8a-830b-550d1bbab5f8" providerId="ADAL" clId="{FA54304C-E424-4A4A-81D9-ABDA7518D7DD}" dt="2023-01-04T17:59:57.906" v="11818"/>
          <ac:spMkLst>
            <pc:docMk/>
            <pc:sldMk cId="940790774" sldId="2147377212"/>
            <ac:spMk id="17" creationId="{4A954918-4603-F20A-E860-7FB658A4158B}"/>
          </ac:spMkLst>
        </pc:spChg>
        <pc:graphicFrameChg chg="mod">
          <ac:chgData name="Carroll, Tyler" userId="69b673a0-6af4-4d8a-830b-550d1bbab5f8" providerId="ADAL" clId="{FA54304C-E424-4A4A-81D9-ABDA7518D7DD}" dt="2023-01-04T17:59:57.908" v="11820"/>
          <ac:graphicFrameMkLst>
            <pc:docMk/>
            <pc:sldMk cId="940790774" sldId="2147377212"/>
            <ac:graphicFrameMk id="12" creationId="{FF86AA81-B9C4-0876-4C78-91488846EF68}"/>
          </ac:graphicFrameMkLst>
        </pc:graphicFrameChg>
      </pc:sldChg>
      <pc:sldChg chg="addSp delSp modSp add mod ord modNotesTx">
        <pc:chgData name="Carroll, Tyler" userId="69b673a0-6af4-4d8a-830b-550d1bbab5f8" providerId="ADAL" clId="{FA54304C-E424-4A4A-81D9-ABDA7518D7DD}" dt="2023-01-04T18:47:49.178" v="12776" actId="1076"/>
        <pc:sldMkLst>
          <pc:docMk/>
          <pc:sldMk cId="4159446265" sldId="2147377213"/>
        </pc:sldMkLst>
        <pc:spChg chg="add del mod modVis">
          <ac:chgData name="Carroll, Tyler" userId="69b673a0-6af4-4d8a-830b-550d1bbab5f8" providerId="ADAL" clId="{FA54304C-E424-4A4A-81D9-ABDA7518D7DD}" dt="2023-01-03T21:16:06.004" v="7660"/>
          <ac:spMkLst>
            <pc:docMk/>
            <pc:sldMk cId="4159446265" sldId="2147377213"/>
            <ac:spMk id="2" creationId="{C35A6383-D14F-95A8-761A-74D4EDC2A677}"/>
          </ac:spMkLst>
        </pc:spChg>
        <pc:spChg chg="mod">
          <ac:chgData name="Carroll, Tyler" userId="69b673a0-6af4-4d8a-830b-550d1bbab5f8" providerId="ADAL" clId="{FA54304C-E424-4A4A-81D9-ABDA7518D7DD}" dt="2023-01-04T18:47:49.140" v="12737" actId="948"/>
          <ac:spMkLst>
            <pc:docMk/>
            <pc:sldMk cId="4159446265" sldId="2147377213"/>
            <ac:spMk id="3" creationId="{7C31B922-FCD1-4880-8A44-04E5BDD484BA}"/>
          </ac:spMkLst>
        </pc:spChg>
        <pc:spChg chg="add del mod modVis">
          <ac:chgData name="Carroll, Tyler" userId="69b673a0-6af4-4d8a-830b-550d1bbab5f8" providerId="ADAL" clId="{FA54304C-E424-4A4A-81D9-ABDA7518D7DD}" dt="2023-01-03T21:29:27.220" v="7950"/>
          <ac:spMkLst>
            <pc:docMk/>
            <pc:sldMk cId="4159446265" sldId="2147377213"/>
            <ac:spMk id="4" creationId="{C6158396-5C80-351C-61C7-6DF3E0DD6419}"/>
          </ac:spMkLst>
        </pc:spChg>
        <pc:spChg chg="mod">
          <ac:chgData name="Carroll, Tyler" userId="69b673a0-6af4-4d8a-830b-550d1bbab5f8" providerId="ADAL" clId="{FA54304C-E424-4A4A-81D9-ABDA7518D7DD}" dt="2023-01-04T18:04:18.280" v="11842" actId="2711"/>
          <ac:spMkLst>
            <pc:docMk/>
            <pc:sldMk cId="4159446265" sldId="2147377213"/>
            <ac:spMk id="5" creationId="{94CFD307-6DAB-473D-AF83-06BB85B99DE9}"/>
          </ac:spMkLst>
        </pc:spChg>
        <pc:spChg chg="add del mod modVis">
          <ac:chgData name="Carroll, Tyler" userId="69b673a0-6af4-4d8a-830b-550d1bbab5f8" providerId="ADAL" clId="{FA54304C-E424-4A4A-81D9-ABDA7518D7DD}" dt="2023-01-03T22:09:00.026" v="9031"/>
          <ac:spMkLst>
            <pc:docMk/>
            <pc:sldMk cId="4159446265" sldId="2147377213"/>
            <ac:spMk id="6" creationId="{EB68B604-B523-1A5D-F44F-1B40E14F5DC9}"/>
          </ac:spMkLst>
        </pc:spChg>
        <pc:spChg chg="add del mod modVis">
          <ac:chgData name="Carroll, Tyler" userId="69b673a0-6af4-4d8a-830b-550d1bbab5f8" providerId="ADAL" clId="{FA54304C-E424-4A4A-81D9-ABDA7518D7DD}" dt="2023-01-03T22:09:00.877" v="9076"/>
          <ac:spMkLst>
            <pc:docMk/>
            <pc:sldMk cId="4159446265" sldId="2147377213"/>
            <ac:spMk id="8" creationId="{5562AE01-4074-CAFC-37C7-C43EB854A4F3}"/>
          </ac:spMkLst>
        </pc:spChg>
        <pc:spChg chg="del mod modVis">
          <ac:chgData name="Carroll, Tyler" userId="69b673a0-6af4-4d8a-830b-550d1bbab5f8" providerId="ADAL" clId="{FA54304C-E424-4A4A-81D9-ABDA7518D7DD}" dt="2023-01-04T18:47:49.173" v="12775" actId="478"/>
          <ac:spMkLst>
            <pc:docMk/>
            <pc:sldMk cId="4159446265" sldId="2147377213"/>
            <ac:spMk id="10" creationId="{E32649D2-1C9F-2F96-3569-B1BB420B7BF9}"/>
          </ac:spMkLst>
        </pc:spChg>
        <pc:spChg chg="mod">
          <ac:chgData name="Carroll, Tyler" userId="69b673a0-6af4-4d8a-830b-550d1bbab5f8" providerId="ADAL" clId="{FA54304C-E424-4A4A-81D9-ABDA7518D7DD}" dt="2023-01-03T21:28:29.316" v="7872" actId="2711"/>
          <ac:spMkLst>
            <pc:docMk/>
            <pc:sldMk cId="4159446265" sldId="2147377213"/>
            <ac:spMk id="11" creationId="{7B53F4C4-0B02-F3AB-149E-237C3E936E16}"/>
          </ac:spMkLst>
        </pc:spChg>
        <pc:spChg chg="mod">
          <ac:chgData name="Carroll, Tyler" userId="69b673a0-6af4-4d8a-830b-550d1bbab5f8" providerId="ADAL" clId="{FA54304C-E424-4A4A-81D9-ABDA7518D7DD}" dt="2023-01-03T21:29:17.833" v="7907" actId="2711"/>
          <ac:spMkLst>
            <pc:docMk/>
            <pc:sldMk cId="4159446265" sldId="2147377213"/>
            <ac:spMk id="13" creationId="{5A02AE1F-DE12-71FD-3E17-C2D6EE1C89DD}"/>
          </ac:spMkLst>
        </pc:spChg>
        <pc:spChg chg="mod">
          <ac:chgData name="Carroll, Tyler" userId="69b673a0-6af4-4d8a-830b-550d1bbab5f8" providerId="ADAL" clId="{FA54304C-E424-4A4A-81D9-ABDA7518D7DD}" dt="2023-01-03T21:29:17.833" v="7907" actId="2711"/>
          <ac:spMkLst>
            <pc:docMk/>
            <pc:sldMk cId="4159446265" sldId="2147377213"/>
            <ac:spMk id="14" creationId="{71D0D8D5-5492-DA59-8A5A-53DADE212C36}"/>
          </ac:spMkLst>
        </pc:spChg>
        <pc:spChg chg="mod">
          <ac:chgData name="Carroll, Tyler" userId="69b673a0-6af4-4d8a-830b-550d1bbab5f8" providerId="ADAL" clId="{FA54304C-E424-4A4A-81D9-ABDA7518D7DD}" dt="2023-01-03T21:29:17.833" v="7907" actId="2711"/>
          <ac:spMkLst>
            <pc:docMk/>
            <pc:sldMk cId="4159446265" sldId="2147377213"/>
            <ac:spMk id="16" creationId="{66778C78-281A-A2FF-7CC9-4858B65B0E1C}"/>
          </ac:spMkLst>
        </pc:spChg>
        <pc:spChg chg="mod">
          <ac:chgData name="Carroll, Tyler" userId="69b673a0-6af4-4d8a-830b-550d1bbab5f8" providerId="ADAL" clId="{FA54304C-E424-4A4A-81D9-ABDA7518D7DD}" dt="2023-01-03T21:29:17.833" v="7907" actId="2711"/>
          <ac:spMkLst>
            <pc:docMk/>
            <pc:sldMk cId="4159446265" sldId="2147377213"/>
            <ac:spMk id="17" creationId="{5B725D1D-40A9-612E-9EF0-876005462C64}"/>
          </ac:spMkLst>
        </pc:spChg>
        <pc:spChg chg="mod">
          <ac:chgData name="Carroll, Tyler" userId="69b673a0-6af4-4d8a-830b-550d1bbab5f8" providerId="ADAL" clId="{FA54304C-E424-4A4A-81D9-ABDA7518D7DD}" dt="2023-01-03T21:29:17.833" v="7907" actId="2711"/>
          <ac:spMkLst>
            <pc:docMk/>
            <pc:sldMk cId="4159446265" sldId="2147377213"/>
            <ac:spMk id="18" creationId="{4F65E62E-F98E-EEA2-2D81-BECCF57B9AC4}"/>
          </ac:spMkLst>
        </pc:spChg>
        <pc:spChg chg="mod">
          <ac:chgData name="Carroll, Tyler" userId="69b673a0-6af4-4d8a-830b-550d1bbab5f8" providerId="ADAL" clId="{FA54304C-E424-4A4A-81D9-ABDA7518D7DD}" dt="2023-01-03T21:16:01.583" v="7617" actId="20577"/>
          <ac:spMkLst>
            <pc:docMk/>
            <pc:sldMk cId="4159446265" sldId="2147377213"/>
            <ac:spMk id="35" creationId="{B6B8C041-3061-37F7-68FE-4AA402720C9A}"/>
          </ac:spMkLst>
        </pc:spChg>
        <pc:grpChg chg="mod">
          <ac:chgData name="Carroll, Tyler" userId="69b673a0-6af4-4d8a-830b-550d1bbab5f8" providerId="ADAL" clId="{FA54304C-E424-4A4A-81D9-ABDA7518D7DD}" dt="2023-01-03T21:16:09.887" v="7663" actId="1076"/>
          <ac:grpSpMkLst>
            <pc:docMk/>
            <pc:sldMk cId="4159446265" sldId="2147377213"/>
            <ac:grpSpMk id="12" creationId="{27AD6CA7-7084-F855-FED7-BC0A10D12F7A}"/>
          </ac:grpSpMkLst>
        </pc:grpChg>
        <pc:graphicFrameChg chg="mod">
          <ac:chgData name="Carroll, Tyler" userId="69b673a0-6af4-4d8a-830b-550d1bbab5f8" providerId="ADAL" clId="{FA54304C-E424-4A4A-81D9-ABDA7518D7DD}" dt="2023-01-04T15:56:01.811" v="11196" actId="207"/>
          <ac:graphicFrameMkLst>
            <pc:docMk/>
            <pc:sldMk cId="4159446265" sldId="2147377213"/>
            <ac:graphicFrameMk id="7" creationId="{ED47854F-CECE-EA49-17B5-67E58E2D85CA}"/>
          </ac:graphicFrameMkLst>
        </pc:graphicFrameChg>
        <pc:graphicFrameChg chg="mod">
          <ac:chgData name="Carroll, Tyler" userId="69b673a0-6af4-4d8a-830b-550d1bbab5f8" providerId="ADAL" clId="{FA54304C-E424-4A4A-81D9-ABDA7518D7DD}" dt="2023-01-04T18:47:49.178" v="12776" actId="1076"/>
          <ac:graphicFrameMkLst>
            <pc:docMk/>
            <pc:sldMk cId="4159446265" sldId="2147377213"/>
            <ac:graphicFrameMk id="83" creationId="{E1084622-6F0F-A30B-B5C5-3280A732496F}"/>
          </ac:graphicFrameMkLst>
        </pc:graphicFrameChg>
      </pc:sldChg>
      <pc:sldChg chg="addSp delSp modSp add del mod ord">
        <pc:chgData name="Carroll, Tyler" userId="69b673a0-6af4-4d8a-830b-550d1bbab5f8" providerId="ADAL" clId="{FA54304C-E424-4A4A-81D9-ABDA7518D7DD}" dt="2023-01-05T04:14:54.419" v="13068" actId="47"/>
        <pc:sldMkLst>
          <pc:docMk/>
          <pc:sldMk cId="3077616400" sldId="2147377214"/>
        </pc:sldMkLst>
        <pc:spChg chg="add del mod modVis">
          <ac:chgData name="Carroll, Tyler" userId="69b673a0-6af4-4d8a-830b-550d1bbab5f8" providerId="ADAL" clId="{FA54304C-E424-4A4A-81D9-ABDA7518D7DD}" dt="2023-01-03T22:16:25.237" v="11090"/>
          <ac:spMkLst>
            <pc:docMk/>
            <pc:sldMk cId="3077616400" sldId="2147377214"/>
            <ac:spMk id="2" creationId="{021DABF5-0AF1-31D5-AD03-625043826139}"/>
          </ac:spMkLst>
        </pc:spChg>
        <pc:spChg chg="mod">
          <ac:chgData name="Carroll, Tyler" userId="69b673a0-6af4-4d8a-830b-550d1bbab5f8" providerId="ADAL" clId="{FA54304C-E424-4A4A-81D9-ABDA7518D7DD}" dt="2023-01-03T22:16:28.239" v="11094" actId="948"/>
          <ac:spMkLst>
            <pc:docMk/>
            <pc:sldMk cId="3077616400" sldId="2147377214"/>
            <ac:spMk id="3" creationId="{655A26EB-2B87-44CF-9189-EED39DA9EE8F}"/>
          </ac:spMkLst>
        </pc:spChg>
        <pc:spChg chg="mod">
          <ac:chgData name="Carroll, Tyler" userId="69b673a0-6af4-4d8a-830b-550d1bbab5f8" providerId="ADAL" clId="{FA54304C-E424-4A4A-81D9-ABDA7518D7DD}" dt="2023-01-04T18:10:02.806" v="11864" actId="2711"/>
          <ac:spMkLst>
            <pc:docMk/>
            <pc:sldMk cId="3077616400" sldId="2147377214"/>
            <ac:spMk id="5" creationId="{54952ADA-E738-4AFC-807B-D7C88E1A0B26}"/>
          </ac:spMkLst>
        </pc:spChg>
        <pc:spChg chg="add del mod modVis">
          <ac:chgData name="Carroll, Tyler" userId="69b673a0-6af4-4d8a-830b-550d1bbab5f8" providerId="ADAL" clId="{FA54304C-E424-4A4A-81D9-ABDA7518D7DD}" dt="2023-01-03T22:16:28.287" v="11135"/>
          <ac:spMkLst>
            <pc:docMk/>
            <pc:sldMk cId="3077616400" sldId="2147377214"/>
            <ac:spMk id="7" creationId="{FB10C024-30BC-1729-CA1A-8C777ECF701E}"/>
          </ac:spMkLst>
        </pc:spChg>
        <pc:graphicFrameChg chg="mod">
          <ac:chgData name="Carroll, Tyler" userId="69b673a0-6af4-4d8a-830b-550d1bbab5f8" providerId="ADAL" clId="{FA54304C-E424-4A4A-81D9-ABDA7518D7DD}" dt="2023-01-03T22:16:28.289" v="11137"/>
          <ac:graphicFrameMkLst>
            <pc:docMk/>
            <pc:sldMk cId="3077616400" sldId="2147377214"/>
            <ac:graphicFrameMk id="8" creationId="{6D4D037B-80E6-74D7-E94C-63C328C4832C}"/>
          </ac:graphicFrameMkLst>
        </pc:graphicFrameChg>
      </pc:sldChg>
      <pc:sldChg chg="addSp delSp modSp add mod ord">
        <pc:chgData name="Carroll, Tyler" userId="69b673a0-6af4-4d8a-830b-550d1bbab5f8" providerId="ADAL" clId="{FA54304C-E424-4A4A-81D9-ABDA7518D7DD}" dt="2023-01-04T19:14:25.563" v="12833"/>
        <pc:sldMkLst>
          <pc:docMk/>
          <pc:sldMk cId="694435095" sldId="2147377215"/>
        </pc:sldMkLst>
        <pc:spChg chg="mod">
          <ac:chgData name="Carroll, Tyler" userId="69b673a0-6af4-4d8a-830b-550d1bbab5f8" providerId="ADAL" clId="{FA54304C-E424-4A4A-81D9-ABDA7518D7DD}" dt="2023-01-04T19:14:20.695" v="12788" actId="1076"/>
          <ac:spMkLst>
            <pc:docMk/>
            <pc:sldMk cId="694435095" sldId="2147377215"/>
            <ac:spMk id="2" creationId="{FB7F8B9B-F682-88AB-41EF-2B2E86DCABEA}"/>
          </ac:spMkLst>
        </pc:spChg>
        <pc:spChg chg="mod">
          <ac:chgData name="Carroll, Tyler" userId="69b673a0-6af4-4d8a-830b-550d1bbab5f8" providerId="ADAL" clId="{FA54304C-E424-4A4A-81D9-ABDA7518D7DD}" dt="2023-01-04T19:14:25.514" v="12790" actId="948"/>
          <ac:spMkLst>
            <pc:docMk/>
            <pc:sldMk cId="694435095" sldId="2147377215"/>
            <ac:spMk id="3" creationId="{D2C3D60C-DE1C-0DF0-7EF7-0069ABF6B7EB}"/>
          </ac:spMkLst>
        </pc:spChg>
        <pc:spChg chg="add del mod modVis">
          <ac:chgData name="Carroll, Tyler" userId="69b673a0-6af4-4d8a-830b-550d1bbab5f8" providerId="ADAL" clId="{FA54304C-E424-4A4A-81D9-ABDA7518D7DD}" dt="2023-01-03T21:43:48.832" v="8461"/>
          <ac:spMkLst>
            <pc:docMk/>
            <pc:sldMk cId="694435095" sldId="2147377215"/>
            <ac:spMk id="4" creationId="{853DABDD-5E89-47FF-15DE-4523EF326CAB}"/>
          </ac:spMkLst>
        </pc:spChg>
        <pc:spChg chg="add del mod modVis">
          <ac:chgData name="Carroll, Tyler" userId="69b673a0-6af4-4d8a-830b-550d1bbab5f8" providerId="ADAL" clId="{FA54304C-E424-4A4A-81D9-ABDA7518D7DD}" dt="2023-01-04T19:14:25.546" v="12831"/>
          <ac:spMkLst>
            <pc:docMk/>
            <pc:sldMk cId="694435095" sldId="2147377215"/>
            <ac:spMk id="6" creationId="{DEB6E653-D420-89F8-FDE5-34A9534B4B6C}"/>
          </ac:spMkLst>
        </pc:spChg>
        <pc:graphicFrameChg chg="mod">
          <ac:chgData name="Carroll, Tyler" userId="69b673a0-6af4-4d8a-830b-550d1bbab5f8" providerId="ADAL" clId="{FA54304C-E424-4A4A-81D9-ABDA7518D7DD}" dt="2023-01-04T19:14:25.563" v="12833"/>
          <ac:graphicFrameMkLst>
            <pc:docMk/>
            <pc:sldMk cId="694435095" sldId="2147377215"/>
            <ac:graphicFrameMk id="7" creationId="{CF669542-599B-704E-D515-E0469F4E210C}"/>
          </ac:graphicFrameMkLst>
        </pc:graphicFrameChg>
      </pc:sldChg>
      <pc:sldChg chg="addSp delSp modSp add mod ord">
        <pc:chgData name="Carroll, Tyler" userId="69b673a0-6af4-4d8a-830b-550d1bbab5f8" providerId="ADAL" clId="{FA54304C-E424-4A4A-81D9-ABDA7518D7DD}" dt="2023-01-04T19:14:32.833" v="12879"/>
        <pc:sldMkLst>
          <pc:docMk/>
          <pc:sldMk cId="3935211455" sldId="2147377216"/>
        </pc:sldMkLst>
        <pc:spChg chg="mod">
          <ac:chgData name="Carroll, Tyler" userId="69b673a0-6af4-4d8a-830b-550d1bbab5f8" providerId="ADAL" clId="{FA54304C-E424-4A4A-81D9-ABDA7518D7DD}" dt="2023-01-04T19:14:29.719" v="12834" actId="1076"/>
          <ac:spMkLst>
            <pc:docMk/>
            <pc:sldMk cId="3935211455" sldId="2147377216"/>
            <ac:spMk id="2" creationId="{FB7F8B9B-F682-88AB-41EF-2B2E86DCABEA}"/>
          </ac:spMkLst>
        </pc:spChg>
        <pc:spChg chg="mod">
          <ac:chgData name="Carroll, Tyler" userId="69b673a0-6af4-4d8a-830b-550d1bbab5f8" providerId="ADAL" clId="{FA54304C-E424-4A4A-81D9-ABDA7518D7DD}" dt="2023-01-04T19:14:32.782" v="12836" actId="948"/>
          <ac:spMkLst>
            <pc:docMk/>
            <pc:sldMk cId="3935211455" sldId="2147377216"/>
            <ac:spMk id="3" creationId="{D2C3D60C-DE1C-0DF0-7EF7-0069ABF6B7EB}"/>
          </ac:spMkLst>
        </pc:spChg>
        <pc:spChg chg="add del mod modVis">
          <ac:chgData name="Carroll, Tyler" userId="69b673a0-6af4-4d8a-830b-550d1bbab5f8" providerId="ADAL" clId="{FA54304C-E424-4A4A-81D9-ABDA7518D7DD}" dt="2023-01-03T21:43:52.382" v="8507"/>
          <ac:spMkLst>
            <pc:docMk/>
            <pc:sldMk cId="3935211455" sldId="2147377216"/>
            <ac:spMk id="4" creationId="{FE3C7EAD-7899-A159-96AD-425015F7EBD0}"/>
          </ac:spMkLst>
        </pc:spChg>
        <pc:spChg chg="add del mod modVis">
          <ac:chgData name="Carroll, Tyler" userId="69b673a0-6af4-4d8a-830b-550d1bbab5f8" providerId="ADAL" clId="{FA54304C-E424-4A4A-81D9-ABDA7518D7DD}" dt="2023-01-04T19:14:32.830" v="12877"/>
          <ac:spMkLst>
            <pc:docMk/>
            <pc:sldMk cId="3935211455" sldId="2147377216"/>
            <ac:spMk id="6" creationId="{63F78DA7-DBFB-AE22-964A-7E114EE0ED30}"/>
          </ac:spMkLst>
        </pc:spChg>
        <pc:graphicFrameChg chg="mod">
          <ac:chgData name="Carroll, Tyler" userId="69b673a0-6af4-4d8a-830b-550d1bbab5f8" providerId="ADAL" clId="{FA54304C-E424-4A4A-81D9-ABDA7518D7DD}" dt="2023-01-04T19:14:32.833" v="12879"/>
          <ac:graphicFrameMkLst>
            <pc:docMk/>
            <pc:sldMk cId="3935211455" sldId="2147377216"/>
            <ac:graphicFrameMk id="7" creationId="{CF669542-599B-704E-D515-E0469F4E210C}"/>
          </ac:graphicFrameMkLst>
        </pc:graphicFrameChg>
      </pc:sldChg>
      <pc:sldChg chg="modSp add del mod ord">
        <pc:chgData name="Carroll, Tyler" userId="69b673a0-6af4-4d8a-830b-550d1bbab5f8" providerId="ADAL" clId="{FA54304C-E424-4A4A-81D9-ABDA7518D7DD}" dt="2023-01-03T21:43:38.030" v="8416" actId="47"/>
        <pc:sldMkLst>
          <pc:docMk/>
          <pc:sldMk cId="2568072035" sldId="2147377217"/>
        </pc:sldMkLst>
        <pc:spChg chg="mod">
          <ac:chgData name="Carroll, Tyler" userId="69b673a0-6af4-4d8a-830b-550d1bbab5f8" providerId="ADAL" clId="{FA54304C-E424-4A4A-81D9-ABDA7518D7DD}" dt="2023-01-03T21:42:37.627" v="8387" actId="6549"/>
          <ac:spMkLst>
            <pc:docMk/>
            <pc:sldMk cId="2568072035" sldId="2147377217"/>
            <ac:spMk id="2" creationId="{FB7F8B9B-F682-88AB-41EF-2B2E86DCABEA}"/>
          </ac:spMkLst>
        </pc:spChg>
      </pc:sldChg>
      <pc:sldChg chg="addSp delSp modSp add mod ord setBg modNotesTx">
        <pc:chgData name="Carroll, Tyler" userId="69b673a0-6af4-4d8a-830b-550d1bbab5f8" providerId="ADAL" clId="{FA54304C-E424-4A4A-81D9-ABDA7518D7DD}" dt="2023-01-04T18:46:25.494" v="12721" actId="20577"/>
        <pc:sldMkLst>
          <pc:docMk/>
          <pc:sldMk cId="1899592287" sldId="2147377218"/>
        </pc:sldMkLst>
        <pc:spChg chg="mod">
          <ac:chgData name="Carroll, Tyler" userId="69b673a0-6af4-4d8a-830b-550d1bbab5f8" providerId="ADAL" clId="{FA54304C-E424-4A4A-81D9-ABDA7518D7DD}" dt="2023-01-04T15:59:16.569" v="11270" actId="948"/>
          <ac:spMkLst>
            <pc:docMk/>
            <pc:sldMk cId="1899592287" sldId="2147377218"/>
            <ac:spMk id="2" creationId="{00000000-0000-0000-0000-000000000000}"/>
          </ac:spMkLst>
        </pc:spChg>
        <pc:spChg chg="add del mod modVis">
          <ac:chgData name="Carroll, Tyler" userId="69b673a0-6af4-4d8a-830b-550d1bbab5f8" providerId="ADAL" clId="{FA54304C-E424-4A4A-81D9-ABDA7518D7DD}" dt="2023-01-03T20:48:10.823" v="7396"/>
          <ac:spMkLst>
            <pc:docMk/>
            <pc:sldMk cId="1899592287" sldId="2147377218"/>
            <ac:spMk id="3" creationId="{B4340FFE-A170-8E4C-5CA5-642EC4FD5790}"/>
          </ac:spMkLst>
        </pc:spChg>
        <pc:spChg chg="mod">
          <ac:chgData name="Carroll, Tyler" userId="69b673a0-6af4-4d8a-830b-550d1bbab5f8" providerId="ADAL" clId="{FA54304C-E424-4A4A-81D9-ABDA7518D7DD}" dt="2023-01-04T16:00:12.679" v="11317" actId="14100"/>
          <ac:spMkLst>
            <pc:docMk/>
            <pc:sldMk cId="1899592287" sldId="2147377218"/>
            <ac:spMk id="4" creationId="{00000000-0000-0000-0000-000000000000}"/>
          </ac:spMkLst>
        </pc:spChg>
        <pc:spChg chg="mod">
          <ac:chgData name="Carroll, Tyler" userId="69b673a0-6af4-4d8a-830b-550d1bbab5f8" providerId="ADAL" clId="{FA54304C-E424-4A4A-81D9-ABDA7518D7DD}" dt="2023-01-04T17:28:18.735" v="11534" actId="1076"/>
          <ac:spMkLst>
            <pc:docMk/>
            <pc:sldMk cId="1899592287" sldId="2147377218"/>
            <ac:spMk id="5" creationId="{4376B026-8A42-C30F-0CF4-3D5CD6E4BE44}"/>
          </ac:spMkLst>
        </pc:spChg>
        <pc:spChg chg="mod">
          <ac:chgData name="Carroll, Tyler" userId="69b673a0-6af4-4d8a-830b-550d1bbab5f8" providerId="ADAL" clId="{FA54304C-E424-4A4A-81D9-ABDA7518D7DD}" dt="2023-01-04T18:03:31.295" v="11833" actId="2711"/>
          <ac:spMkLst>
            <pc:docMk/>
            <pc:sldMk cId="1899592287" sldId="2147377218"/>
            <ac:spMk id="6" creationId="{00000000-0000-0000-0000-000000000000}"/>
          </ac:spMkLst>
        </pc:spChg>
        <pc:spChg chg="mod">
          <ac:chgData name="Carroll, Tyler" userId="69b673a0-6af4-4d8a-830b-550d1bbab5f8" providerId="ADAL" clId="{FA54304C-E424-4A4A-81D9-ABDA7518D7DD}" dt="2023-01-04T17:28:18.735" v="11534" actId="1076"/>
          <ac:spMkLst>
            <pc:docMk/>
            <pc:sldMk cId="1899592287" sldId="2147377218"/>
            <ac:spMk id="7" creationId="{B7B5E413-0EBE-18C7-91DD-E13DAEFD316E}"/>
          </ac:spMkLst>
        </pc:spChg>
        <pc:spChg chg="mod">
          <ac:chgData name="Carroll, Tyler" userId="69b673a0-6af4-4d8a-830b-550d1bbab5f8" providerId="ADAL" clId="{FA54304C-E424-4A4A-81D9-ABDA7518D7DD}" dt="2023-01-04T17:28:18.735" v="11534" actId="1076"/>
          <ac:spMkLst>
            <pc:docMk/>
            <pc:sldMk cId="1899592287" sldId="2147377218"/>
            <ac:spMk id="8" creationId="{8623C430-E553-C724-6D4C-B0AD738865EC}"/>
          </ac:spMkLst>
        </pc:spChg>
        <pc:spChg chg="mod">
          <ac:chgData name="Carroll, Tyler" userId="69b673a0-6af4-4d8a-830b-550d1bbab5f8" providerId="ADAL" clId="{FA54304C-E424-4A4A-81D9-ABDA7518D7DD}" dt="2023-01-04T17:28:18.735" v="11534" actId="1076"/>
          <ac:spMkLst>
            <pc:docMk/>
            <pc:sldMk cId="1899592287" sldId="2147377218"/>
            <ac:spMk id="9" creationId="{C0733007-C18A-A43F-AAF6-570AD35A1E0C}"/>
          </ac:spMkLst>
        </pc:spChg>
        <pc:spChg chg="add del mod modVis">
          <ac:chgData name="Carroll, Tyler" userId="69b673a0-6af4-4d8a-830b-550d1bbab5f8" providerId="ADAL" clId="{FA54304C-E424-4A4A-81D9-ABDA7518D7DD}" dt="2023-01-03T21:26:26.655" v="7811"/>
          <ac:spMkLst>
            <pc:docMk/>
            <pc:sldMk cId="1899592287" sldId="2147377218"/>
            <ac:spMk id="10" creationId="{87D251D2-F65E-9A71-B806-F3F48BC92DFF}"/>
          </ac:spMkLst>
        </pc:spChg>
        <pc:spChg chg="add del mod modVis">
          <ac:chgData name="Carroll, Tyler" userId="69b673a0-6af4-4d8a-830b-550d1bbab5f8" providerId="ADAL" clId="{FA54304C-E424-4A4A-81D9-ABDA7518D7DD}" dt="2023-01-04T15:59:16.614" v="11311"/>
          <ac:spMkLst>
            <pc:docMk/>
            <pc:sldMk cId="1899592287" sldId="2147377218"/>
            <ac:spMk id="11" creationId="{139BF931-B9B6-3006-5A2D-2EF0F8E0E217}"/>
          </ac:spMkLst>
        </pc:spChg>
        <pc:graphicFrameChg chg="mod">
          <ac:chgData name="Carroll, Tyler" userId="69b673a0-6af4-4d8a-830b-550d1bbab5f8" providerId="ADAL" clId="{FA54304C-E424-4A4A-81D9-ABDA7518D7DD}" dt="2023-01-04T15:59:16.616" v="11313"/>
          <ac:graphicFrameMkLst>
            <pc:docMk/>
            <pc:sldMk cId="1899592287" sldId="2147377218"/>
            <ac:graphicFrameMk id="13" creationId="{6F63A89F-3657-F4B0-6FA3-F52EECB39407}"/>
          </ac:graphicFrameMkLst>
        </pc:graphicFrameChg>
        <pc:picChg chg="mod">
          <ac:chgData name="Carroll, Tyler" userId="69b673a0-6af4-4d8a-830b-550d1bbab5f8" providerId="ADAL" clId="{FA54304C-E424-4A4A-81D9-ABDA7518D7DD}" dt="2023-01-04T17:28:18.735" v="11534" actId="1076"/>
          <ac:picMkLst>
            <pc:docMk/>
            <pc:sldMk cId="1899592287" sldId="2147377218"/>
            <ac:picMk id="17" creationId="{0060AA12-0E67-023C-680D-102FEC07D4C1}"/>
          </ac:picMkLst>
        </pc:picChg>
        <pc:picChg chg="mod">
          <ac:chgData name="Carroll, Tyler" userId="69b673a0-6af4-4d8a-830b-550d1bbab5f8" providerId="ADAL" clId="{FA54304C-E424-4A4A-81D9-ABDA7518D7DD}" dt="2023-01-04T17:28:18.735" v="11534" actId="1076"/>
          <ac:picMkLst>
            <pc:docMk/>
            <pc:sldMk cId="1899592287" sldId="2147377218"/>
            <ac:picMk id="18" creationId="{09DC3397-F55C-5BF3-0392-2612811B21ED}"/>
          </ac:picMkLst>
        </pc:picChg>
      </pc:sldChg>
      <pc:sldChg chg="addSp delSp modSp add del mod">
        <pc:chgData name="Carroll, Tyler" userId="69b673a0-6af4-4d8a-830b-550d1bbab5f8" providerId="ADAL" clId="{FA54304C-E424-4A4A-81D9-ABDA7518D7DD}" dt="2023-01-05T04:14:31.162" v="13058" actId="47"/>
        <pc:sldMkLst>
          <pc:docMk/>
          <pc:sldMk cId="2501386797" sldId="2147377219"/>
        </pc:sldMkLst>
        <pc:spChg chg="mod">
          <ac:chgData name="Carroll, Tyler" userId="69b673a0-6af4-4d8a-830b-550d1bbab5f8" providerId="ADAL" clId="{FA54304C-E424-4A4A-81D9-ABDA7518D7DD}" dt="2023-01-03T22:12:44.654" v="9178" actId="948"/>
          <ac:spMkLst>
            <pc:docMk/>
            <pc:sldMk cId="2501386797" sldId="2147377219"/>
            <ac:spMk id="3" creationId="{7C31B922-FCD1-4880-8A44-04E5BDD484BA}"/>
          </ac:spMkLst>
        </pc:spChg>
        <pc:spChg chg="add del mod modVis">
          <ac:chgData name="Carroll, Tyler" userId="69b673a0-6af4-4d8a-830b-550d1bbab5f8" providerId="ADAL" clId="{FA54304C-E424-4A4A-81D9-ABDA7518D7DD}" dt="2023-01-03T22:12:43.943" v="9167"/>
          <ac:spMkLst>
            <pc:docMk/>
            <pc:sldMk cId="2501386797" sldId="2147377219"/>
            <ac:spMk id="7" creationId="{67F4106F-C551-54BE-3878-2471A2E78AF1}"/>
          </ac:spMkLst>
        </pc:spChg>
        <pc:spChg chg="mod">
          <ac:chgData name="Carroll, Tyler" userId="69b673a0-6af4-4d8a-830b-550d1bbab5f8" providerId="ADAL" clId="{FA54304C-E424-4A4A-81D9-ABDA7518D7DD}" dt="2023-01-04T15:58:45.923" v="11266" actId="108"/>
          <ac:spMkLst>
            <pc:docMk/>
            <pc:sldMk cId="2501386797" sldId="2147377219"/>
            <ac:spMk id="28" creationId="{4F77EEE3-C56F-AA04-DC18-A051048A61B4}"/>
          </ac:spMkLst>
        </pc:spChg>
        <pc:spChg chg="add del mod modVis">
          <ac:chgData name="Carroll, Tyler" userId="69b673a0-6af4-4d8a-830b-550d1bbab5f8" providerId="ADAL" clId="{FA54304C-E424-4A4A-81D9-ABDA7518D7DD}" dt="2023-01-03T22:12:44.700" v="9219"/>
          <ac:spMkLst>
            <pc:docMk/>
            <pc:sldMk cId="2501386797" sldId="2147377219"/>
            <ac:spMk id="29" creationId="{07919990-E8FA-00CD-D105-7F9D403D7142}"/>
          </ac:spMkLst>
        </pc:spChg>
        <pc:graphicFrameChg chg="mod">
          <ac:chgData name="Carroll, Tyler" userId="69b673a0-6af4-4d8a-830b-550d1bbab5f8" providerId="ADAL" clId="{FA54304C-E424-4A4A-81D9-ABDA7518D7DD}" dt="2023-01-03T22:12:44.702" v="9221"/>
          <ac:graphicFrameMkLst>
            <pc:docMk/>
            <pc:sldMk cId="2501386797" sldId="2147377219"/>
            <ac:graphicFrameMk id="83" creationId="{E1084622-6F0F-A30B-B5C5-3280A732496F}"/>
          </ac:graphicFrameMkLst>
        </pc:graphicFrameChg>
      </pc:sldChg>
      <pc:sldChg chg="modSp add mod ord">
        <pc:chgData name="Carroll, Tyler" userId="69b673a0-6af4-4d8a-830b-550d1bbab5f8" providerId="ADAL" clId="{FA54304C-E424-4A4A-81D9-ABDA7518D7DD}" dt="2023-01-04T18:48:50.880" v="12782"/>
        <pc:sldMkLst>
          <pc:docMk/>
          <pc:sldMk cId="4091257791" sldId="2147377220"/>
        </pc:sldMkLst>
        <pc:spChg chg="mod">
          <ac:chgData name="Carroll, Tyler" userId="69b673a0-6af4-4d8a-830b-550d1bbab5f8" providerId="ADAL" clId="{FA54304C-E424-4A4A-81D9-ABDA7518D7DD}" dt="2023-01-04T18:04:42.040" v="11845" actId="2711"/>
          <ac:spMkLst>
            <pc:docMk/>
            <pc:sldMk cId="4091257791" sldId="2147377220"/>
            <ac:spMk id="3" creationId="{E5F47DA8-4ADC-32EF-4827-FCFBCD51CC91}"/>
          </ac:spMkLst>
        </pc:spChg>
        <pc:spChg chg="mod">
          <ac:chgData name="Carroll, Tyler" userId="69b673a0-6af4-4d8a-830b-550d1bbab5f8" providerId="ADAL" clId="{FA54304C-E424-4A4A-81D9-ABDA7518D7DD}" dt="2023-01-03T21:41:53.438" v="8382" actId="20577"/>
          <ac:spMkLst>
            <pc:docMk/>
            <pc:sldMk cId="4091257791" sldId="2147377220"/>
            <ac:spMk id="5" creationId="{85EDB4D3-DEA2-8501-79FC-1BF1F8C2DC0E}"/>
          </ac:spMkLst>
        </pc:spChg>
      </pc:sldChg>
      <pc:sldChg chg="modSp add del mod">
        <pc:chgData name="Carroll, Tyler" userId="69b673a0-6af4-4d8a-830b-550d1bbab5f8" providerId="ADAL" clId="{FA54304C-E424-4A4A-81D9-ABDA7518D7DD}" dt="2023-01-03T22:15:23.844" v="10572" actId="47"/>
        <pc:sldMkLst>
          <pc:docMk/>
          <pc:sldMk cId="3230978876" sldId="2147377221"/>
        </pc:sldMkLst>
        <pc:spChg chg="mod">
          <ac:chgData name="Carroll, Tyler" userId="69b673a0-6af4-4d8a-830b-550d1bbab5f8" providerId="ADAL" clId="{FA54304C-E424-4A4A-81D9-ABDA7518D7DD}" dt="2023-01-03T22:15:03.209" v="10567" actId="20577"/>
          <ac:spMkLst>
            <pc:docMk/>
            <pc:sldMk cId="3230978876" sldId="2147377221"/>
            <ac:spMk id="21" creationId="{D13524F4-34F2-2BC1-29BB-4A771AD734E3}"/>
          </ac:spMkLst>
        </pc:spChg>
      </pc:sldChg>
      <pc:sldChg chg="modSp add del mod ord">
        <pc:chgData name="Carroll, Tyler" userId="69b673a0-6af4-4d8a-830b-550d1bbab5f8" providerId="ADAL" clId="{FA54304C-E424-4A4A-81D9-ABDA7518D7DD}" dt="2023-01-05T04:14:47.129" v="13065" actId="47"/>
        <pc:sldMkLst>
          <pc:docMk/>
          <pc:sldMk cId="564356623" sldId="2147377222"/>
        </pc:sldMkLst>
        <pc:spChg chg="mod">
          <ac:chgData name="Carroll, Tyler" userId="69b673a0-6af4-4d8a-830b-550d1bbab5f8" providerId="ADAL" clId="{FA54304C-E424-4A4A-81D9-ABDA7518D7DD}" dt="2023-01-04T18:49:35.423" v="12784" actId="2711"/>
          <ac:spMkLst>
            <pc:docMk/>
            <pc:sldMk cId="564356623" sldId="2147377222"/>
            <ac:spMk id="5" creationId="{94CFD307-6DAB-473D-AF83-06BB85B99DE9}"/>
          </ac:spMkLst>
        </pc:spChg>
      </pc:sldChg>
      <pc:sldChg chg="modSp add del mod ord">
        <pc:chgData name="Carroll, Tyler" userId="69b673a0-6af4-4d8a-830b-550d1bbab5f8" providerId="ADAL" clId="{FA54304C-E424-4A4A-81D9-ABDA7518D7DD}" dt="2023-01-05T04:14:50.571" v="13067" actId="47"/>
        <pc:sldMkLst>
          <pc:docMk/>
          <pc:sldMk cId="1292995366" sldId="2147377223"/>
        </pc:sldMkLst>
        <pc:spChg chg="mod">
          <ac:chgData name="Carroll, Tyler" userId="69b673a0-6af4-4d8a-830b-550d1bbab5f8" providerId="ADAL" clId="{FA54304C-E424-4A4A-81D9-ABDA7518D7DD}" dt="2023-01-03T22:16:12.135" v="10902" actId="2711"/>
          <ac:spMkLst>
            <pc:docMk/>
            <pc:sldMk cId="1292995366" sldId="2147377223"/>
            <ac:spMk id="21" creationId="{D13524F4-34F2-2BC1-29BB-4A771AD734E3}"/>
          </ac:spMkLst>
        </pc:spChg>
      </pc:sldChg>
      <pc:sldChg chg="addSp delSp modSp add del mod modTransition modShow">
        <pc:chgData name="Carroll, Tyler" userId="69b673a0-6af4-4d8a-830b-550d1bbab5f8" providerId="ADAL" clId="{FA54304C-E424-4A4A-81D9-ABDA7518D7DD}" dt="2023-01-05T04:14:32.122" v="13059" actId="47"/>
        <pc:sldMkLst>
          <pc:docMk/>
          <pc:sldMk cId="631195349" sldId="2147377224"/>
        </pc:sldMkLst>
        <pc:spChg chg="del">
          <ac:chgData name="Carroll, Tyler" userId="69b673a0-6af4-4d8a-830b-550d1bbab5f8" providerId="ADAL" clId="{FA54304C-E424-4A4A-81D9-ABDA7518D7DD}" dt="2023-01-04T14:55:27.866" v="11159" actId="478"/>
          <ac:spMkLst>
            <pc:docMk/>
            <pc:sldMk cId="631195349" sldId="2147377224"/>
            <ac:spMk id="6" creationId="{C8C2616D-35F1-F224-0AC6-A19B97187E44}"/>
          </ac:spMkLst>
        </pc:spChg>
        <pc:spChg chg="del">
          <ac:chgData name="Carroll, Tyler" userId="69b673a0-6af4-4d8a-830b-550d1bbab5f8" providerId="ADAL" clId="{FA54304C-E424-4A4A-81D9-ABDA7518D7DD}" dt="2023-01-04T14:55:27.866" v="11159" actId="478"/>
          <ac:spMkLst>
            <pc:docMk/>
            <pc:sldMk cId="631195349" sldId="2147377224"/>
            <ac:spMk id="8" creationId="{F1D0F842-C4A2-27B9-20DB-EDE7478AF0B9}"/>
          </ac:spMkLst>
        </pc:spChg>
        <pc:spChg chg="del">
          <ac:chgData name="Carroll, Tyler" userId="69b673a0-6af4-4d8a-830b-550d1bbab5f8" providerId="ADAL" clId="{FA54304C-E424-4A4A-81D9-ABDA7518D7DD}" dt="2023-01-04T14:55:27.866" v="11159" actId="478"/>
          <ac:spMkLst>
            <pc:docMk/>
            <pc:sldMk cId="631195349" sldId="2147377224"/>
            <ac:spMk id="10" creationId="{A3AC44B3-2387-C1FF-83E0-67E1C54125D5}"/>
          </ac:spMkLst>
        </pc:spChg>
        <pc:spChg chg="del">
          <ac:chgData name="Carroll, Tyler" userId="69b673a0-6af4-4d8a-830b-550d1bbab5f8" providerId="ADAL" clId="{FA54304C-E424-4A4A-81D9-ABDA7518D7DD}" dt="2023-01-04T14:55:27.866" v="11159" actId="478"/>
          <ac:spMkLst>
            <pc:docMk/>
            <pc:sldMk cId="631195349" sldId="2147377224"/>
            <ac:spMk id="14" creationId="{3A9A1761-5342-F319-9E60-17C9B293447C}"/>
          </ac:spMkLst>
        </pc:spChg>
        <pc:spChg chg="del">
          <ac:chgData name="Carroll, Tyler" userId="69b673a0-6af4-4d8a-830b-550d1bbab5f8" providerId="ADAL" clId="{FA54304C-E424-4A4A-81D9-ABDA7518D7DD}" dt="2023-01-04T14:55:27.866" v="11159" actId="478"/>
          <ac:spMkLst>
            <pc:docMk/>
            <pc:sldMk cId="631195349" sldId="2147377224"/>
            <ac:spMk id="18" creationId="{E9B2DE3F-4DD8-1D45-253E-98AAC7A13180}"/>
          </ac:spMkLst>
        </pc:spChg>
        <pc:spChg chg="del">
          <ac:chgData name="Carroll, Tyler" userId="69b673a0-6af4-4d8a-830b-550d1bbab5f8" providerId="ADAL" clId="{FA54304C-E424-4A4A-81D9-ABDA7518D7DD}" dt="2023-01-04T14:55:27.866" v="11159" actId="478"/>
          <ac:spMkLst>
            <pc:docMk/>
            <pc:sldMk cId="631195349" sldId="2147377224"/>
            <ac:spMk id="21" creationId="{A5AA4612-9215-7AE9-4EF9-F5FCA5702CC9}"/>
          </ac:spMkLst>
        </pc:spChg>
        <pc:spChg chg="del">
          <ac:chgData name="Carroll, Tyler" userId="69b673a0-6af4-4d8a-830b-550d1bbab5f8" providerId="ADAL" clId="{FA54304C-E424-4A4A-81D9-ABDA7518D7DD}" dt="2023-01-04T14:55:27.866" v="11159" actId="478"/>
          <ac:spMkLst>
            <pc:docMk/>
            <pc:sldMk cId="631195349" sldId="2147377224"/>
            <ac:spMk id="23" creationId="{7B913D04-DB93-9C41-939B-9B8A2C853434}"/>
          </ac:spMkLst>
        </pc:spChg>
        <pc:spChg chg="del">
          <ac:chgData name="Carroll, Tyler" userId="69b673a0-6af4-4d8a-830b-550d1bbab5f8" providerId="ADAL" clId="{FA54304C-E424-4A4A-81D9-ABDA7518D7DD}" dt="2023-01-04T14:55:27.866" v="11159" actId="478"/>
          <ac:spMkLst>
            <pc:docMk/>
            <pc:sldMk cId="631195349" sldId="2147377224"/>
            <ac:spMk id="25" creationId="{62B6679B-D7BC-825D-3EEF-8BE05328A741}"/>
          </ac:spMkLst>
        </pc:spChg>
        <pc:spChg chg="del">
          <ac:chgData name="Carroll, Tyler" userId="69b673a0-6af4-4d8a-830b-550d1bbab5f8" providerId="ADAL" clId="{FA54304C-E424-4A4A-81D9-ABDA7518D7DD}" dt="2023-01-04T14:55:27.866" v="11159" actId="478"/>
          <ac:spMkLst>
            <pc:docMk/>
            <pc:sldMk cId="631195349" sldId="2147377224"/>
            <ac:spMk id="27" creationId="{377C90D1-1103-3B55-B439-85932C2F4389}"/>
          </ac:spMkLst>
        </pc:spChg>
        <pc:spChg chg="mod">
          <ac:chgData name="Carroll, Tyler" userId="69b673a0-6af4-4d8a-830b-550d1bbab5f8" providerId="ADAL" clId="{FA54304C-E424-4A4A-81D9-ABDA7518D7DD}" dt="2023-01-04T15:58:49.500" v="11267" actId="108"/>
          <ac:spMkLst>
            <pc:docMk/>
            <pc:sldMk cId="631195349" sldId="2147377224"/>
            <ac:spMk id="28" creationId="{4F77EEE3-C56F-AA04-DC18-A051048A61B4}"/>
          </ac:spMkLst>
        </pc:spChg>
        <pc:spChg chg="del">
          <ac:chgData name="Carroll, Tyler" userId="69b673a0-6af4-4d8a-830b-550d1bbab5f8" providerId="ADAL" clId="{FA54304C-E424-4A4A-81D9-ABDA7518D7DD}" dt="2023-01-04T14:55:27.866" v="11159" actId="478"/>
          <ac:spMkLst>
            <pc:docMk/>
            <pc:sldMk cId="631195349" sldId="2147377224"/>
            <ac:spMk id="37" creationId="{CAB6BB82-F15E-9DA5-90AA-F56C827BC04B}"/>
          </ac:spMkLst>
        </pc:spChg>
        <pc:spChg chg="del">
          <ac:chgData name="Carroll, Tyler" userId="69b673a0-6af4-4d8a-830b-550d1bbab5f8" providerId="ADAL" clId="{FA54304C-E424-4A4A-81D9-ABDA7518D7DD}" dt="2023-01-04T14:55:27.866" v="11159" actId="478"/>
          <ac:spMkLst>
            <pc:docMk/>
            <pc:sldMk cId="631195349" sldId="2147377224"/>
            <ac:spMk id="39" creationId="{B90632A3-4C44-4B8B-FEA7-3CE42489F8D7}"/>
          </ac:spMkLst>
        </pc:spChg>
        <pc:spChg chg="del">
          <ac:chgData name="Carroll, Tyler" userId="69b673a0-6af4-4d8a-830b-550d1bbab5f8" providerId="ADAL" clId="{FA54304C-E424-4A4A-81D9-ABDA7518D7DD}" dt="2023-01-04T14:55:27.866" v="11159" actId="478"/>
          <ac:spMkLst>
            <pc:docMk/>
            <pc:sldMk cId="631195349" sldId="2147377224"/>
            <ac:spMk id="41" creationId="{B0426226-0EA7-7358-DCFA-80653AA15D15}"/>
          </ac:spMkLst>
        </pc:spChg>
        <pc:spChg chg="del">
          <ac:chgData name="Carroll, Tyler" userId="69b673a0-6af4-4d8a-830b-550d1bbab5f8" providerId="ADAL" clId="{FA54304C-E424-4A4A-81D9-ABDA7518D7DD}" dt="2023-01-04T14:55:27.866" v="11159" actId="478"/>
          <ac:spMkLst>
            <pc:docMk/>
            <pc:sldMk cId="631195349" sldId="2147377224"/>
            <ac:spMk id="47" creationId="{450CA4FA-FEB7-EF6A-0A36-4980BC5D4B13}"/>
          </ac:spMkLst>
        </pc:spChg>
        <pc:spChg chg="del">
          <ac:chgData name="Carroll, Tyler" userId="69b673a0-6af4-4d8a-830b-550d1bbab5f8" providerId="ADAL" clId="{FA54304C-E424-4A4A-81D9-ABDA7518D7DD}" dt="2023-01-04T14:55:27.866" v="11159" actId="478"/>
          <ac:spMkLst>
            <pc:docMk/>
            <pc:sldMk cId="631195349" sldId="2147377224"/>
            <ac:spMk id="48" creationId="{0EF314FD-43FC-BA21-BCFC-042C37DCF54C}"/>
          </ac:spMkLst>
        </pc:spChg>
        <pc:spChg chg="del">
          <ac:chgData name="Carroll, Tyler" userId="69b673a0-6af4-4d8a-830b-550d1bbab5f8" providerId="ADAL" clId="{FA54304C-E424-4A4A-81D9-ABDA7518D7DD}" dt="2023-01-04T14:55:27.866" v="11159" actId="478"/>
          <ac:spMkLst>
            <pc:docMk/>
            <pc:sldMk cId="631195349" sldId="2147377224"/>
            <ac:spMk id="50" creationId="{97C1FA83-296A-E733-893A-5F61BD5AB393}"/>
          </ac:spMkLst>
        </pc:spChg>
        <pc:spChg chg="del">
          <ac:chgData name="Carroll, Tyler" userId="69b673a0-6af4-4d8a-830b-550d1bbab5f8" providerId="ADAL" clId="{FA54304C-E424-4A4A-81D9-ABDA7518D7DD}" dt="2023-01-04T14:55:27.866" v="11159" actId="478"/>
          <ac:spMkLst>
            <pc:docMk/>
            <pc:sldMk cId="631195349" sldId="2147377224"/>
            <ac:spMk id="95" creationId="{01E151E3-6998-A8F3-AD71-5DC161C16FA2}"/>
          </ac:spMkLst>
        </pc:spChg>
        <pc:spChg chg="del">
          <ac:chgData name="Carroll, Tyler" userId="69b673a0-6af4-4d8a-830b-550d1bbab5f8" providerId="ADAL" clId="{FA54304C-E424-4A4A-81D9-ABDA7518D7DD}" dt="2023-01-04T14:55:27.866" v="11159" actId="478"/>
          <ac:spMkLst>
            <pc:docMk/>
            <pc:sldMk cId="631195349" sldId="2147377224"/>
            <ac:spMk id="97" creationId="{E9F24B7E-78B5-D439-F908-106416A79EAB}"/>
          </ac:spMkLst>
        </pc:spChg>
        <pc:grpChg chg="mod">
          <ac:chgData name="Carroll, Tyler" userId="69b673a0-6af4-4d8a-830b-550d1bbab5f8" providerId="ADAL" clId="{FA54304C-E424-4A4A-81D9-ABDA7518D7DD}" dt="2023-01-04T14:56:49.944" v="11173" actId="1076"/>
          <ac:grpSpMkLst>
            <pc:docMk/>
            <pc:sldMk cId="631195349" sldId="2147377224"/>
            <ac:grpSpMk id="16" creationId="{9495347C-B830-DD69-1C1F-3A513749D419}"/>
          </ac:grpSpMkLst>
        </pc:grpChg>
        <pc:grpChg chg="del">
          <ac:chgData name="Carroll, Tyler" userId="69b673a0-6af4-4d8a-830b-550d1bbab5f8" providerId="ADAL" clId="{FA54304C-E424-4A4A-81D9-ABDA7518D7DD}" dt="2023-01-04T14:55:29.411" v="11160" actId="478"/>
          <ac:grpSpMkLst>
            <pc:docMk/>
            <pc:sldMk cId="631195349" sldId="2147377224"/>
            <ac:grpSpMk id="59" creationId="{4ADD53AC-A880-A34D-2075-3A3D8D5D5613}"/>
          </ac:grpSpMkLst>
        </pc:grpChg>
        <pc:graphicFrameChg chg="del">
          <ac:chgData name="Carroll, Tyler" userId="69b673a0-6af4-4d8a-830b-550d1bbab5f8" providerId="ADAL" clId="{FA54304C-E424-4A4A-81D9-ABDA7518D7DD}" dt="2023-01-04T14:55:27.866" v="11159" actId="478"/>
          <ac:graphicFrameMkLst>
            <pc:docMk/>
            <pc:sldMk cId="631195349" sldId="2147377224"/>
            <ac:graphicFrameMk id="20" creationId="{1E4BE318-64A4-50DF-225A-8D3119EE7BD6}"/>
          </ac:graphicFrameMkLst>
        </pc:graphicFrameChg>
        <pc:picChg chg="del">
          <ac:chgData name="Carroll, Tyler" userId="69b673a0-6af4-4d8a-830b-550d1bbab5f8" providerId="ADAL" clId="{FA54304C-E424-4A4A-81D9-ABDA7518D7DD}" dt="2023-01-04T14:55:27.866" v="11159" actId="478"/>
          <ac:picMkLst>
            <pc:docMk/>
            <pc:sldMk cId="631195349" sldId="2147377224"/>
            <ac:picMk id="2" creationId="{F7CD9C39-CD17-F8FE-4CEB-F49588844F5F}"/>
          </ac:picMkLst>
        </pc:picChg>
        <pc:picChg chg="del">
          <ac:chgData name="Carroll, Tyler" userId="69b673a0-6af4-4d8a-830b-550d1bbab5f8" providerId="ADAL" clId="{FA54304C-E424-4A4A-81D9-ABDA7518D7DD}" dt="2023-01-04T14:55:27.866" v="11159" actId="478"/>
          <ac:picMkLst>
            <pc:docMk/>
            <pc:sldMk cId="631195349" sldId="2147377224"/>
            <ac:picMk id="4" creationId="{4662768C-8627-743C-9BFD-B014B541AF36}"/>
          </ac:picMkLst>
        </pc:picChg>
        <pc:picChg chg="del">
          <ac:chgData name="Carroll, Tyler" userId="69b673a0-6af4-4d8a-830b-550d1bbab5f8" providerId="ADAL" clId="{FA54304C-E424-4A4A-81D9-ABDA7518D7DD}" dt="2023-01-04T14:55:27.866" v="11159" actId="478"/>
          <ac:picMkLst>
            <pc:docMk/>
            <pc:sldMk cId="631195349" sldId="2147377224"/>
            <ac:picMk id="9" creationId="{00898AEA-B652-5825-7E55-ADCAD855E4EF}"/>
          </ac:picMkLst>
        </pc:picChg>
        <pc:picChg chg="del">
          <ac:chgData name="Carroll, Tyler" userId="69b673a0-6af4-4d8a-830b-550d1bbab5f8" providerId="ADAL" clId="{FA54304C-E424-4A4A-81D9-ABDA7518D7DD}" dt="2023-01-04T14:55:27.866" v="11159" actId="478"/>
          <ac:picMkLst>
            <pc:docMk/>
            <pc:sldMk cId="631195349" sldId="2147377224"/>
            <ac:picMk id="11" creationId="{1C6A63BB-D96C-8592-F0E9-A2F36CD891B9}"/>
          </ac:picMkLst>
        </pc:picChg>
        <pc:picChg chg="del">
          <ac:chgData name="Carroll, Tyler" userId="69b673a0-6af4-4d8a-830b-550d1bbab5f8" providerId="ADAL" clId="{FA54304C-E424-4A4A-81D9-ABDA7518D7DD}" dt="2023-01-04T14:55:27.866" v="11159" actId="478"/>
          <ac:picMkLst>
            <pc:docMk/>
            <pc:sldMk cId="631195349" sldId="2147377224"/>
            <ac:picMk id="17" creationId="{9ABB64D7-1B43-4497-44D8-A201AE130361}"/>
          </ac:picMkLst>
        </pc:picChg>
        <pc:picChg chg="del">
          <ac:chgData name="Carroll, Tyler" userId="69b673a0-6af4-4d8a-830b-550d1bbab5f8" providerId="ADAL" clId="{FA54304C-E424-4A4A-81D9-ABDA7518D7DD}" dt="2023-01-04T14:55:27.866" v="11159" actId="478"/>
          <ac:picMkLst>
            <pc:docMk/>
            <pc:sldMk cId="631195349" sldId="2147377224"/>
            <ac:picMk id="19" creationId="{43BC29BF-23A6-BD99-337A-9979F7364282}"/>
          </ac:picMkLst>
        </pc:picChg>
        <pc:picChg chg="del">
          <ac:chgData name="Carroll, Tyler" userId="69b673a0-6af4-4d8a-830b-550d1bbab5f8" providerId="ADAL" clId="{FA54304C-E424-4A4A-81D9-ABDA7518D7DD}" dt="2023-01-04T14:55:27.866" v="11159" actId="478"/>
          <ac:picMkLst>
            <pc:docMk/>
            <pc:sldMk cId="631195349" sldId="2147377224"/>
            <ac:picMk id="22" creationId="{CC98F8D2-414E-C3DB-4B38-466E8E77A007}"/>
          </ac:picMkLst>
        </pc:picChg>
        <pc:picChg chg="del">
          <ac:chgData name="Carroll, Tyler" userId="69b673a0-6af4-4d8a-830b-550d1bbab5f8" providerId="ADAL" clId="{FA54304C-E424-4A4A-81D9-ABDA7518D7DD}" dt="2023-01-04T14:55:27.866" v="11159" actId="478"/>
          <ac:picMkLst>
            <pc:docMk/>
            <pc:sldMk cId="631195349" sldId="2147377224"/>
            <ac:picMk id="24" creationId="{DF87E46B-DCA0-69DC-D776-205159D0F9AE}"/>
          </ac:picMkLst>
        </pc:picChg>
        <pc:picChg chg="del">
          <ac:chgData name="Carroll, Tyler" userId="69b673a0-6af4-4d8a-830b-550d1bbab5f8" providerId="ADAL" clId="{FA54304C-E424-4A4A-81D9-ABDA7518D7DD}" dt="2023-01-04T14:55:27.866" v="11159" actId="478"/>
          <ac:picMkLst>
            <pc:docMk/>
            <pc:sldMk cId="631195349" sldId="2147377224"/>
            <ac:picMk id="26" creationId="{C5B34DA9-E20E-E17B-29A9-219441ECA745}"/>
          </ac:picMkLst>
        </pc:picChg>
        <pc:picChg chg="add mod modCrop">
          <ac:chgData name="Carroll, Tyler" userId="69b673a0-6af4-4d8a-830b-550d1bbab5f8" providerId="ADAL" clId="{FA54304C-E424-4A4A-81D9-ABDA7518D7DD}" dt="2023-01-04T14:57:05.430" v="11182" actId="1036"/>
          <ac:picMkLst>
            <pc:docMk/>
            <pc:sldMk cId="631195349" sldId="2147377224"/>
            <ac:picMk id="29" creationId="{593FE1EF-9D91-04D3-8126-713A4750AF6B}"/>
          </ac:picMkLst>
        </pc:picChg>
        <pc:picChg chg="del">
          <ac:chgData name="Carroll, Tyler" userId="69b673a0-6af4-4d8a-830b-550d1bbab5f8" providerId="ADAL" clId="{FA54304C-E424-4A4A-81D9-ABDA7518D7DD}" dt="2023-01-04T14:55:27.866" v="11159" actId="478"/>
          <ac:picMkLst>
            <pc:docMk/>
            <pc:sldMk cId="631195349" sldId="2147377224"/>
            <ac:picMk id="36" creationId="{0999E77F-16C6-D696-2A39-E978247F7921}"/>
          </ac:picMkLst>
        </pc:picChg>
        <pc:picChg chg="del">
          <ac:chgData name="Carroll, Tyler" userId="69b673a0-6af4-4d8a-830b-550d1bbab5f8" providerId="ADAL" clId="{FA54304C-E424-4A4A-81D9-ABDA7518D7DD}" dt="2023-01-04T14:55:27.866" v="11159" actId="478"/>
          <ac:picMkLst>
            <pc:docMk/>
            <pc:sldMk cId="631195349" sldId="2147377224"/>
            <ac:picMk id="38" creationId="{E2E5CECA-03DB-3371-2AD6-DB863E61ADFD}"/>
          </ac:picMkLst>
        </pc:picChg>
        <pc:picChg chg="del">
          <ac:chgData name="Carroll, Tyler" userId="69b673a0-6af4-4d8a-830b-550d1bbab5f8" providerId="ADAL" clId="{FA54304C-E424-4A4A-81D9-ABDA7518D7DD}" dt="2023-01-04T14:55:27.866" v="11159" actId="478"/>
          <ac:picMkLst>
            <pc:docMk/>
            <pc:sldMk cId="631195349" sldId="2147377224"/>
            <ac:picMk id="40" creationId="{1B76B470-00F3-357B-337C-9663BE7C9D5F}"/>
          </ac:picMkLst>
        </pc:picChg>
        <pc:picChg chg="del">
          <ac:chgData name="Carroll, Tyler" userId="69b673a0-6af4-4d8a-830b-550d1bbab5f8" providerId="ADAL" clId="{FA54304C-E424-4A4A-81D9-ABDA7518D7DD}" dt="2023-01-04T14:55:27.866" v="11159" actId="478"/>
          <ac:picMkLst>
            <pc:docMk/>
            <pc:sldMk cId="631195349" sldId="2147377224"/>
            <ac:picMk id="94" creationId="{8779A3D2-7477-32C2-B36B-3BB64F889CE1}"/>
          </ac:picMkLst>
        </pc:picChg>
        <pc:picChg chg="del">
          <ac:chgData name="Carroll, Tyler" userId="69b673a0-6af4-4d8a-830b-550d1bbab5f8" providerId="ADAL" clId="{FA54304C-E424-4A4A-81D9-ABDA7518D7DD}" dt="2023-01-04T14:55:27.866" v="11159" actId="478"/>
          <ac:picMkLst>
            <pc:docMk/>
            <pc:sldMk cId="631195349" sldId="2147377224"/>
            <ac:picMk id="96" creationId="{17AC5E6F-573F-8EC9-C82A-AA3050458A6A}"/>
          </ac:picMkLst>
        </pc:picChg>
        <pc:cxnChg chg="del">
          <ac:chgData name="Carroll, Tyler" userId="69b673a0-6af4-4d8a-830b-550d1bbab5f8" providerId="ADAL" clId="{FA54304C-E424-4A4A-81D9-ABDA7518D7DD}" dt="2023-01-04T14:55:27.866" v="11159" actId="478"/>
          <ac:cxnSpMkLst>
            <pc:docMk/>
            <pc:sldMk cId="631195349" sldId="2147377224"/>
            <ac:cxnSpMk id="15" creationId="{C839AA8A-D9CC-4D41-8AB0-B99DD8B8816C}"/>
          </ac:cxnSpMkLst>
        </pc:cxnChg>
        <pc:cxnChg chg="del">
          <ac:chgData name="Carroll, Tyler" userId="69b673a0-6af4-4d8a-830b-550d1bbab5f8" providerId="ADAL" clId="{FA54304C-E424-4A4A-81D9-ABDA7518D7DD}" dt="2023-01-04T14:55:27.866" v="11159" actId="478"/>
          <ac:cxnSpMkLst>
            <pc:docMk/>
            <pc:sldMk cId="631195349" sldId="2147377224"/>
            <ac:cxnSpMk id="45" creationId="{6E014782-8CB5-9F52-F24E-E02ABAA432D6}"/>
          </ac:cxnSpMkLst>
        </pc:cxnChg>
        <pc:cxnChg chg="del">
          <ac:chgData name="Carroll, Tyler" userId="69b673a0-6af4-4d8a-830b-550d1bbab5f8" providerId="ADAL" clId="{FA54304C-E424-4A4A-81D9-ABDA7518D7DD}" dt="2023-01-04T14:55:27.866" v="11159" actId="478"/>
          <ac:cxnSpMkLst>
            <pc:docMk/>
            <pc:sldMk cId="631195349" sldId="2147377224"/>
            <ac:cxnSpMk id="46" creationId="{0CE03CE7-1804-2C76-CE8E-52F020C6C4AA}"/>
          </ac:cxnSpMkLst>
        </pc:cxnChg>
        <pc:cxnChg chg="del">
          <ac:chgData name="Carroll, Tyler" userId="69b673a0-6af4-4d8a-830b-550d1bbab5f8" providerId="ADAL" clId="{FA54304C-E424-4A4A-81D9-ABDA7518D7DD}" dt="2023-01-04T14:55:32.164" v="11162" actId="478"/>
          <ac:cxnSpMkLst>
            <pc:docMk/>
            <pc:sldMk cId="631195349" sldId="2147377224"/>
            <ac:cxnSpMk id="51" creationId="{B82581C2-1E95-67D2-6451-895F1F9FB640}"/>
          </ac:cxnSpMkLst>
        </pc:cxnChg>
        <pc:cxnChg chg="del">
          <ac:chgData name="Carroll, Tyler" userId="69b673a0-6af4-4d8a-830b-550d1bbab5f8" providerId="ADAL" clId="{FA54304C-E424-4A4A-81D9-ABDA7518D7DD}" dt="2023-01-04T14:55:30.904" v="11161" actId="478"/>
          <ac:cxnSpMkLst>
            <pc:docMk/>
            <pc:sldMk cId="631195349" sldId="2147377224"/>
            <ac:cxnSpMk id="54" creationId="{3AC71133-4132-7B58-AAE5-4DF08D402048}"/>
          </ac:cxnSpMkLst>
        </pc:cxnChg>
      </pc:sldChg>
      <pc:sldChg chg="modSp add mod">
        <pc:chgData name="Carroll, Tyler" userId="69b673a0-6af4-4d8a-830b-550d1bbab5f8" providerId="ADAL" clId="{FA54304C-E424-4A4A-81D9-ABDA7518D7DD}" dt="2023-01-04T15:58:41.194" v="11265" actId="108"/>
        <pc:sldMkLst>
          <pc:docMk/>
          <pc:sldMk cId="1151328446" sldId="2147377225"/>
        </pc:sldMkLst>
        <pc:spChg chg="mod">
          <ac:chgData name="Carroll, Tyler" userId="69b673a0-6af4-4d8a-830b-550d1bbab5f8" providerId="ADAL" clId="{FA54304C-E424-4A4A-81D9-ABDA7518D7DD}" dt="2023-01-04T15:58:41.194" v="11265" actId="108"/>
          <ac:spMkLst>
            <pc:docMk/>
            <pc:sldMk cId="1151328446" sldId="2147377225"/>
            <ac:spMk id="3" creationId="{E5F47DA8-4ADC-32EF-4827-FCFBCD51CC91}"/>
          </ac:spMkLst>
        </pc:spChg>
      </pc:sldChg>
      <pc:sldChg chg="modSp add del mod">
        <pc:chgData name="Carroll, Tyler" userId="69b673a0-6af4-4d8a-830b-550d1bbab5f8" providerId="ADAL" clId="{FA54304C-E424-4A4A-81D9-ABDA7518D7DD}" dt="2023-01-05T04:14:39.838" v="13061" actId="47"/>
        <pc:sldMkLst>
          <pc:docMk/>
          <pc:sldMk cId="3646400561" sldId="2147377226"/>
        </pc:sldMkLst>
        <pc:spChg chg="mod">
          <ac:chgData name="Carroll, Tyler" userId="69b673a0-6af4-4d8a-830b-550d1bbab5f8" providerId="ADAL" clId="{FA54304C-E424-4A4A-81D9-ABDA7518D7DD}" dt="2023-01-04T18:08:55.618" v="11853" actId="2711"/>
          <ac:spMkLst>
            <pc:docMk/>
            <pc:sldMk cId="3646400561" sldId="2147377226"/>
            <ac:spMk id="5" creationId="{0217BA43-2843-4F2B-8234-4E1D5013B5E0}"/>
          </ac:spMkLst>
        </pc:spChg>
      </pc:sldChg>
      <pc:sldChg chg="modSp add mod">
        <pc:chgData name="Carroll, Tyler" userId="69b673a0-6af4-4d8a-830b-550d1bbab5f8" providerId="ADAL" clId="{FA54304C-E424-4A4A-81D9-ABDA7518D7DD}" dt="2023-01-04T18:48:54.263" v="12783" actId="20577"/>
        <pc:sldMkLst>
          <pc:docMk/>
          <pc:sldMk cId="754646361" sldId="2147377227"/>
        </pc:sldMkLst>
        <pc:spChg chg="mod">
          <ac:chgData name="Carroll, Tyler" userId="69b673a0-6af4-4d8a-830b-550d1bbab5f8" providerId="ADAL" clId="{FA54304C-E424-4A4A-81D9-ABDA7518D7DD}" dt="2023-01-04T18:48:54.263" v="12783" actId="20577"/>
          <ac:spMkLst>
            <pc:docMk/>
            <pc:sldMk cId="754646361" sldId="2147377227"/>
            <ac:spMk id="5" creationId="{85EDB4D3-DEA2-8501-79FC-1BF1F8C2DC0E}"/>
          </ac:spMkLst>
        </pc:spChg>
        <pc:cxnChg chg="mod">
          <ac:chgData name="Carroll, Tyler" userId="69b673a0-6af4-4d8a-830b-550d1bbab5f8" providerId="ADAL" clId="{FA54304C-E424-4A4A-81D9-ABDA7518D7DD}" dt="2023-01-04T18:48:48.625" v="12780" actId="1076"/>
          <ac:cxnSpMkLst>
            <pc:docMk/>
            <pc:sldMk cId="754646361" sldId="2147377227"/>
            <ac:cxnSpMk id="6" creationId="{850564CB-1D2B-934D-6BF6-EC4E611E1A8C}"/>
          </ac:cxnSpMkLst>
        </pc:cxnChg>
      </pc:sldChg>
      <pc:sldMasterChg chg="modSldLayout">
        <pc:chgData name="Carroll, Tyler" userId="69b673a0-6af4-4d8a-830b-550d1bbab5f8" providerId="ADAL" clId="{FA54304C-E424-4A4A-81D9-ABDA7518D7DD}" dt="2023-01-04T18:01:47.015" v="11825" actId="2711"/>
        <pc:sldMasterMkLst>
          <pc:docMk/>
          <pc:sldMasterMk cId="717954282" sldId="2147483672"/>
        </pc:sldMasterMkLst>
        <pc:sldLayoutChg chg="addSp delSp modSp mod">
          <pc:chgData name="Carroll, Tyler" userId="69b673a0-6af4-4d8a-830b-550d1bbab5f8" providerId="ADAL" clId="{FA54304C-E424-4A4A-81D9-ABDA7518D7DD}" dt="2023-01-03T18:11:44.098" v="4212" actId="403"/>
          <pc:sldLayoutMkLst>
            <pc:docMk/>
            <pc:sldMasterMk cId="717954282" sldId="2147483672"/>
            <pc:sldLayoutMk cId="1436136055" sldId="2147483683"/>
          </pc:sldLayoutMkLst>
          <pc:spChg chg="add mod">
            <ac:chgData name="Carroll, Tyler" userId="69b673a0-6af4-4d8a-830b-550d1bbab5f8" providerId="ADAL" clId="{FA54304C-E424-4A4A-81D9-ABDA7518D7DD}" dt="2023-01-03T18:08:55.167" v="4096" actId="2085"/>
            <ac:spMkLst>
              <pc:docMk/>
              <pc:sldMasterMk cId="717954282" sldId="2147483672"/>
              <pc:sldLayoutMk cId="1436136055" sldId="2147483683"/>
              <ac:spMk id="7" creationId="{1B1405E9-6120-471A-7520-0B16C702272C}"/>
            </ac:spMkLst>
          </pc:spChg>
          <pc:spChg chg="add del mod modVis">
            <ac:chgData name="Carroll, Tyler" userId="69b673a0-6af4-4d8a-830b-550d1bbab5f8" providerId="ADAL" clId="{FA54304C-E424-4A4A-81D9-ABDA7518D7DD}" dt="2023-01-03T18:10:40.004" v="4193"/>
            <ac:spMkLst>
              <pc:docMk/>
              <pc:sldMasterMk cId="717954282" sldId="2147483672"/>
              <pc:sldLayoutMk cId="1436136055" sldId="2147483683"/>
              <ac:spMk id="8" creationId="{E6B6FE58-06B1-FFEA-2ADE-6F42042946BF}"/>
            </ac:spMkLst>
          </pc:spChg>
          <pc:spChg chg="mod">
            <ac:chgData name="Carroll, Tyler" userId="69b673a0-6af4-4d8a-830b-550d1bbab5f8" providerId="ADAL" clId="{FA54304C-E424-4A4A-81D9-ABDA7518D7DD}" dt="2023-01-03T18:10:39.961" v="4152" actId="948"/>
            <ac:spMkLst>
              <pc:docMk/>
              <pc:sldMasterMk cId="717954282" sldId="2147483672"/>
              <pc:sldLayoutMk cId="1436136055" sldId="2147483683"/>
              <ac:spMk id="9" creationId="{A3E7C59C-7AB2-FD4B-9D3E-CA7E0D8CB2F3}"/>
            </ac:spMkLst>
          </pc:spChg>
          <pc:spChg chg="mod">
            <ac:chgData name="Carroll, Tyler" userId="69b673a0-6af4-4d8a-830b-550d1bbab5f8" providerId="ADAL" clId="{FA54304C-E424-4A4A-81D9-ABDA7518D7DD}" dt="2023-01-03T18:11:44.098" v="4212" actId="403"/>
            <ac:spMkLst>
              <pc:docMk/>
              <pc:sldMasterMk cId="717954282" sldId="2147483672"/>
              <pc:sldLayoutMk cId="1436136055" sldId="2147483683"/>
              <ac:spMk id="200" creationId="{D7070C02-8D3D-AA4B-B6D3-432E3D380E3C}"/>
            </ac:spMkLst>
          </pc:spChg>
          <pc:graphicFrameChg chg="add mod ord modVis replST">
            <ac:chgData name="Carroll, Tyler" userId="69b673a0-6af4-4d8a-830b-550d1bbab5f8" providerId="ADAL" clId="{FA54304C-E424-4A4A-81D9-ABDA7518D7DD}" dt="2023-01-03T18:10:40.036" v="4209"/>
            <ac:graphicFrameMkLst>
              <pc:docMk/>
              <pc:sldMasterMk cId="717954282" sldId="2147483672"/>
              <pc:sldLayoutMk cId="1436136055" sldId="2147483683"/>
              <ac:graphicFrameMk id="10" creationId="{35F246CA-0EC2-7A43-08E4-AFA15C3304B9}"/>
            </ac:graphicFrameMkLst>
          </pc:graphicFrameChg>
        </pc:sldLayoutChg>
        <pc:sldLayoutChg chg="addSp modSp mod">
          <pc:chgData name="Carroll, Tyler" userId="69b673a0-6af4-4d8a-830b-550d1bbab5f8" providerId="ADAL" clId="{FA54304C-E424-4A4A-81D9-ABDA7518D7DD}" dt="2023-01-04T16:01:01.933" v="11321" actId="1038"/>
          <pc:sldLayoutMkLst>
            <pc:docMk/>
            <pc:sldMasterMk cId="717954282" sldId="2147483672"/>
            <pc:sldLayoutMk cId="761610885" sldId="2147483688"/>
          </pc:sldLayoutMkLst>
          <pc:spChg chg="add mod">
            <ac:chgData name="Carroll, Tyler" userId="69b673a0-6af4-4d8a-830b-550d1bbab5f8" providerId="ADAL" clId="{FA54304C-E424-4A4A-81D9-ABDA7518D7DD}" dt="2023-01-04T16:01:01.933" v="11321" actId="1038"/>
            <ac:spMkLst>
              <pc:docMk/>
              <pc:sldMasterMk cId="717954282" sldId="2147483672"/>
              <pc:sldLayoutMk cId="761610885" sldId="2147483688"/>
              <ac:spMk id="3" creationId="{DBD41A0F-5566-E6D1-1486-BCE101BFA46F}"/>
            </ac:spMkLst>
          </pc:spChg>
        </pc:sldLayoutChg>
        <pc:sldLayoutChg chg="addSp modSp">
          <pc:chgData name="Carroll, Tyler" userId="69b673a0-6af4-4d8a-830b-550d1bbab5f8" providerId="ADAL" clId="{FA54304C-E424-4A4A-81D9-ABDA7518D7DD}" dt="2023-01-04T18:00:08.941" v="11821"/>
          <pc:sldLayoutMkLst>
            <pc:docMk/>
            <pc:sldMasterMk cId="717954282" sldId="2147483672"/>
            <pc:sldLayoutMk cId="951420742" sldId="2147483695"/>
          </pc:sldLayoutMkLst>
          <pc:spChg chg="add mod">
            <ac:chgData name="Carroll, Tyler" userId="69b673a0-6af4-4d8a-830b-550d1bbab5f8" providerId="ADAL" clId="{FA54304C-E424-4A4A-81D9-ABDA7518D7DD}" dt="2023-01-04T18:00:08.941" v="11821"/>
            <ac:spMkLst>
              <pc:docMk/>
              <pc:sldMasterMk cId="717954282" sldId="2147483672"/>
              <pc:sldLayoutMk cId="951420742" sldId="2147483695"/>
              <ac:spMk id="3" creationId="{78E0D8B4-701C-82A8-FD78-196C51760304}"/>
            </ac:spMkLst>
          </pc:spChg>
        </pc:sldLayoutChg>
        <pc:sldLayoutChg chg="addSp modSp">
          <pc:chgData name="Carroll, Tyler" userId="69b673a0-6af4-4d8a-830b-550d1bbab5f8" providerId="ADAL" clId="{FA54304C-E424-4A4A-81D9-ABDA7518D7DD}" dt="2023-01-04T18:00:25.197" v="11822"/>
          <pc:sldLayoutMkLst>
            <pc:docMk/>
            <pc:sldMasterMk cId="717954282" sldId="2147483672"/>
            <pc:sldLayoutMk cId="3670249077" sldId="2147483707"/>
          </pc:sldLayoutMkLst>
          <pc:spChg chg="add mod">
            <ac:chgData name="Carroll, Tyler" userId="69b673a0-6af4-4d8a-830b-550d1bbab5f8" providerId="ADAL" clId="{FA54304C-E424-4A4A-81D9-ABDA7518D7DD}" dt="2023-01-04T18:00:25.197" v="11822"/>
            <ac:spMkLst>
              <pc:docMk/>
              <pc:sldMasterMk cId="717954282" sldId="2147483672"/>
              <pc:sldLayoutMk cId="3670249077" sldId="2147483707"/>
              <ac:spMk id="2" creationId="{6502A3A8-CCFC-BBF8-C67C-0E97F147474C}"/>
            </ac:spMkLst>
          </pc:spChg>
        </pc:sldLayoutChg>
        <pc:sldLayoutChg chg="modSp">
          <pc:chgData name="Carroll, Tyler" userId="69b673a0-6af4-4d8a-830b-550d1bbab5f8" providerId="ADAL" clId="{FA54304C-E424-4A4A-81D9-ABDA7518D7DD}" dt="2023-01-04T18:01:47.015" v="11825" actId="2711"/>
          <pc:sldLayoutMkLst>
            <pc:docMk/>
            <pc:sldMasterMk cId="717954282" sldId="2147483672"/>
            <pc:sldLayoutMk cId="3045902038" sldId="2147483717"/>
          </pc:sldLayoutMkLst>
          <pc:spChg chg="mod">
            <ac:chgData name="Carroll, Tyler" userId="69b673a0-6af4-4d8a-830b-550d1bbab5f8" providerId="ADAL" clId="{FA54304C-E424-4A4A-81D9-ABDA7518D7DD}" dt="2023-01-04T18:01:47.015" v="11825" actId="2711"/>
            <ac:spMkLst>
              <pc:docMk/>
              <pc:sldMasterMk cId="717954282" sldId="2147483672"/>
              <pc:sldLayoutMk cId="3045902038" sldId="2147483717"/>
              <ac:spMk id="5" creationId="{DDB21BDA-AD36-4743-9F8E-0A4C0BC0DD64}"/>
            </ac:spMkLst>
          </pc:spChg>
        </pc:sldLayoutChg>
      </pc:sldMasterChg>
      <pc:sldMasterChg chg="modSldLayout">
        <pc:chgData name="Carroll, Tyler" userId="69b673a0-6af4-4d8a-830b-550d1bbab5f8" providerId="ADAL" clId="{FA54304C-E424-4A4A-81D9-ABDA7518D7DD}" dt="2023-01-04T17:59:17.276" v="11640" actId="2085"/>
        <pc:sldMasterMkLst>
          <pc:docMk/>
          <pc:sldMasterMk cId="1945016283" sldId="2147483906"/>
        </pc:sldMasterMkLst>
        <pc:sldLayoutChg chg="addSp modSp mod">
          <pc:chgData name="Carroll, Tyler" userId="69b673a0-6af4-4d8a-830b-550d1bbab5f8" providerId="ADAL" clId="{FA54304C-E424-4A4A-81D9-ABDA7518D7DD}" dt="2023-01-04T17:59:17.276" v="11640" actId="2085"/>
          <pc:sldLayoutMkLst>
            <pc:docMk/>
            <pc:sldMasterMk cId="1945016283" sldId="2147483906"/>
            <pc:sldLayoutMk cId="629398321" sldId="2147483917"/>
          </pc:sldLayoutMkLst>
          <pc:spChg chg="add mod">
            <ac:chgData name="Carroll, Tyler" userId="69b673a0-6af4-4d8a-830b-550d1bbab5f8" providerId="ADAL" clId="{FA54304C-E424-4A4A-81D9-ABDA7518D7DD}" dt="2023-01-04T17:59:17.276" v="11640" actId="2085"/>
            <ac:spMkLst>
              <pc:docMk/>
              <pc:sldMasterMk cId="1945016283" sldId="2147483906"/>
              <pc:sldLayoutMk cId="629398321" sldId="2147483917"/>
              <ac:spMk id="7" creationId="{BA1AED6B-43C1-150C-BC5E-E71CC2389BF4}"/>
            </ac:spMkLst>
          </pc:spChg>
        </pc:sldLayoutChg>
        <pc:sldLayoutChg chg="addSp modSp mod">
          <pc:chgData name="Carroll, Tyler" userId="69b673a0-6af4-4d8a-830b-550d1bbab5f8" providerId="ADAL" clId="{FA54304C-E424-4A4A-81D9-ABDA7518D7DD}" dt="2023-01-04T17:58:22.134" v="11545" actId="2085"/>
          <pc:sldLayoutMkLst>
            <pc:docMk/>
            <pc:sldMasterMk cId="1945016283" sldId="2147483906"/>
            <pc:sldLayoutMk cId="1978123090" sldId="2147483941"/>
          </pc:sldLayoutMkLst>
          <pc:spChg chg="add mod">
            <ac:chgData name="Carroll, Tyler" userId="69b673a0-6af4-4d8a-830b-550d1bbab5f8" providerId="ADAL" clId="{FA54304C-E424-4A4A-81D9-ABDA7518D7DD}" dt="2023-01-04T17:58:22.134" v="11545" actId="2085"/>
            <ac:spMkLst>
              <pc:docMk/>
              <pc:sldMasterMk cId="1945016283" sldId="2147483906"/>
              <pc:sldLayoutMk cId="1978123090" sldId="2147483941"/>
              <ac:spMk id="2" creationId="{B79787D5-990C-11F9-639C-D6B95EAD01B0}"/>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tateofva.sharepoint.com/sites/EC/Shared%20Documents/Youngkin%20Administration%20Documents/Governor's%20ED%20Policy/Data%20Analysis/Cost%20of%20Living/Peer%20State%20Personal%20Income%20Tax%20Rates%201209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tateofva.sharepoint.com/sites/EC/Shared%20Documents/Youngkin%20Administration%20Documents/Governor's%20ED%20Policy/Data%20Analysis/Cost%20of%20Doing%20Business/Peer%20State%20Corporate%20Tax%20Rates%2012092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1"/>
                <c:pt idx="0">
                  <c:v>Category 1</c:v>
                </c:pt>
              </c:strCache>
            </c:strRef>
          </c:cat>
          <c:val>
            <c:numRef>
              <c:f>Sheet1!$B$2:$B$5</c:f>
              <c:numCache>
                <c:formatCode>General</c:formatCode>
                <c:ptCount val="4"/>
                <c:pt idx="0">
                  <c:v>-4.8</c:v>
                </c:pt>
              </c:numCache>
            </c:numRef>
          </c:val>
          <c:extLst>
            <c:ext xmlns:c16="http://schemas.microsoft.com/office/drawing/2014/chart" uri="{C3380CC4-5D6E-409C-BE32-E72D297353CC}">
              <c16:uniqueId val="{00000000-986F-4954-8122-36A6E567E9DB}"/>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1"/>
                <c:pt idx="0">
                  <c:v>Category 1</c:v>
                </c:pt>
              </c:strCache>
            </c:strRef>
          </c:cat>
          <c:val>
            <c:numRef>
              <c:f>Sheet1!$C$2:$C$5</c:f>
              <c:numCache>
                <c:formatCode>General</c:formatCode>
                <c:ptCount val="4"/>
                <c:pt idx="0">
                  <c:v>-2.4</c:v>
                </c:pt>
              </c:numCache>
            </c:numRef>
          </c:val>
          <c:extLst>
            <c:ext xmlns:c16="http://schemas.microsoft.com/office/drawing/2014/chart" uri="{C3380CC4-5D6E-409C-BE32-E72D297353CC}">
              <c16:uniqueId val="{00000001-986F-4954-8122-36A6E567E9DB}"/>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1"/>
                <c:pt idx="0">
                  <c:v>Category 1</c:v>
                </c:pt>
              </c:strCache>
            </c:strRef>
          </c:cat>
          <c:val>
            <c:numRef>
              <c:f>Sheet1!$D$2:$D$5</c:f>
              <c:numCache>
                <c:formatCode>General</c:formatCode>
                <c:ptCount val="4"/>
                <c:pt idx="0">
                  <c:v>8.9</c:v>
                </c:pt>
              </c:numCache>
            </c:numRef>
          </c:val>
          <c:extLst>
            <c:ext xmlns:c16="http://schemas.microsoft.com/office/drawing/2014/chart" uri="{C3380CC4-5D6E-409C-BE32-E72D297353CC}">
              <c16:uniqueId val="{00000002-986F-4954-8122-36A6E567E9DB}"/>
            </c:ext>
          </c:extLst>
        </c:ser>
        <c:dLbls>
          <c:showLegendKey val="0"/>
          <c:showVal val="0"/>
          <c:showCatName val="0"/>
          <c:showSerName val="0"/>
          <c:showPercent val="0"/>
          <c:showBubbleSize val="0"/>
        </c:dLbls>
        <c:gapWidth val="182"/>
        <c:axId val="818725256"/>
        <c:axId val="818725912"/>
      </c:barChart>
      <c:catAx>
        <c:axId val="818725256"/>
        <c:scaling>
          <c:orientation val="minMax"/>
        </c:scaling>
        <c:delete val="1"/>
        <c:axPos val="l"/>
        <c:numFmt formatCode="General" sourceLinked="1"/>
        <c:majorTickMark val="none"/>
        <c:minorTickMark val="none"/>
        <c:tickLblPos val="nextTo"/>
        <c:crossAx val="818725912"/>
        <c:crosses val="autoZero"/>
        <c:auto val="1"/>
        <c:lblAlgn val="ctr"/>
        <c:lblOffset val="100"/>
        <c:noMultiLvlLbl val="0"/>
      </c:catAx>
      <c:valAx>
        <c:axId val="81872591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8725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dirty="0">
                <a:solidFill>
                  <a:schemeClr val="accent1"/>
                </a:solidFill>
                <a:latin typeface="Verlag Bold" pitchFamily="2" charset="0"/>
              </a:rPr>
              <a:t>Personal Income Tax Rates</a:t>
            </a:r>
          </a:p>
          <a:p>
            <a:pPr>
              <a:defRPr/>
            </a:pPr>
            <a:r>
              <a:rPr lang="en-US" b="1" dirty="0">
                <a:solidFill>
                  <a:schemeClr val="accent1"/>
                </a:solidFill>
                <a:latin typeface="Verlag Bold" pitchFamily="2" charset="0"/>
              </a:rPr>
              <a:t>2013-203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1"/>
          <c:order val="0"/>
          <c:tx>
            <c:strRef>
              <c:f>'Tax Rates'!$A$2</c:f>
              <c:strCache>
                <c:ptCount val="1"/>
                <c:pt idx="0">
                  <c:v>North Carolina</c:v>
                </c:pt>
              </c:strCache>
            </c:strRef>
          </c:tx>
          <c:spPr>
            <a:ln w="28575" cap="rnd">
              <a:solidFill>
                <a:schemeClr val="bg2">
                  <a:lumMod val="65000"/>
                </a:schemeClr>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2:$S$2</c:f>
              <c:numCache>
                <c:formatCode>0.00%</c:formatCode>
                <c:ptCount val="18"/>
                <c:pt idx="0">
                  <c:v>7.7499999999999999E-2</c:v>
                </c:pt>
                <c:pt idx="1">
                  <c:v>5.8000000000000003E-2</c:v>
                </c:pt>
                <c:pt idx="2">
                  <c:v>5.7500000000000002E-2</c:v>
                </c:pt>
                <c:pt idx="3">
                  <c:v>5.7500000000000002E-2</c:v>
                </c:pt>
                <c:pt idx="4">
                  <c:v>5.4989999999999997E-2</c:v>
                </c:pt>
                <c:pt idx="5">
                  <c:v>5.4989999999999997E-2</c:v>
                </c:pt>
                <c:pt idx="6">
                  <c:v>5.2499999999999998E-2</c:v>
                </c:pt>
                <c:pt idx="7">
                  <c:v>5.2499999999999998E-2</c:v>
                </c:pt>
                <c:pt idx="8">
                  <c:v>5.2499999999999998E-2</c:v>
                </c:pt>
                <c:pt idx="9">
                  <c:v>4.99E-2</c:v>
                </c:pt>
                <c:pt idx="10">
                  <c:v>4.7500000000000001E-2</c:v>
                </c:pt>
                <c:pt idx="11">
                  <c:v>4.5999999999999999E-2</c:v>
                </c:pt>
                <c:pt idx="12">
                  <c:v>4.4999999999999998E-2</c:v>
                </c:pt>
                <c:pt idx="13">
                  <c:v>4.2500000000000003E-2</c:v>
                </c:pt>
                <c:pt idx="14">
                  <c:v>3.9899999999999998E-2</c:v>
                </c:pt>
                <c:pt idx="15">
                  <c:v>3.9899999999999998E-2</c:v>
                </c:pt>
                <c:pt idx="16">
                  <c:v>3.9899999999999998E-2</c:v>
                </c:pt>
                <c:pt idx="17">
                  <c:v>3.9899999999999998E-2</c:v>
                </c:pt>
              </c:numCache>
            </c:numRef>
          </c:val>
          <c:smooth val="0"/>
          <c:extLst>
            <c:ext xmlns:c16="http://schemas.microsoft.com/office/drawing/2014/chart" uri="{C3380CC4-5D6E-409C-BE32-E72D297353CC}">
              <c16:uniqueId val="{00000000-855F-42E2-8651-A237E888A02F}"/>
            </c:ext>
          </c:extLst>
        </c:ser>
        <c:ser>
          <c:idx val="2"/>
          <c:order val="1"/>
          <c:tx>
            <c:strRef>
              <c:f>'Tax Rates'!$A$3</c:f>
              <c:strCache>
                <c:ptCount val="1"/>
                <c:pt idx="0">
                  <c:v>South Carolina</c:v>
                </c:pt>
              </c:strCache>
            </c:strRef>
          </c:tx>
          <c:spPr>
            <a:ln w="28575" cap="rnd">
              <a:solidFill>
                <a:srgbClr val="FFCC00"/>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3:$S$3</c:f>
              <c:numCache>
                <c:formatCode>0.00%</c:formatCode>
                <c:ptCount val="18"/>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7.0000000000000007E-2</c:v>
                </c:pt>
                <c:pt idx="9">
                  <c:v>6.5000000000000002E-2</c:v>
                </c:pt>
                <c:pt idx="10">
                  <c:v>6.4000000000000001E-2</c:v>
                </c:pt>
                <c:pt idx="11">
                  <c:v>6.3E-2</c:v>
                </c:pt>
                <c:pt idx="12">
                  <c:v>6.2E-2</c:v>
                </c:pt>
                <c:pt idx="13">
                  <c:v>6.0999999999999999E-2</c:v>
                </c:pt>
                <c:pt idx="14">
                  <c:v>0.06</c:v>
                </c:pt>
                <c:pt idx="15">
                  <c:v>0.06</c:v>
                </c:pt>
                <c:pt idx="16">
                  <c:v>0.06</c:v>
                </c:pt>
                <c:pt idx="17">
                  <c:v>0.06</c:v>
                </c:pt>
              </c:numCache>
            </c:numRef>
          </c:val>
          <c:smooth val="0"/>
          <c:extLst>
            <c:ext xmlns:c16="http://schemas.microsoft.com/office/drawing/2014/chart" uri="{C3380CC4-5D6E-409C-BE32-E72D297353CC}">
              <c16:uniqueId val="{00000001-855F-42E2-8651-A237E888A02F}"/>
            </c:ext>
          </c:extLst>
        </c:ser>
        <c:ser>
          <c:idx val="3"/>
          <c:order val="2"/>
          <c:tx>
            <c:strRef>
              <c:f>'Tax Rates'!$A$4</c:f>
              <c:strCache>
                <c:ptCount val="1"/>
                <c:pt idx="0">
                  <c:v>Tennessee*</c:v>
                </c:pt>
              </c:strCache>
            </c:strRef>
          </c:tx>
          <c:spPr>
            <a:ln w="28575" cap="rnd">
              <a:solidFill>
                <a:srgbClr val="00B0F0"/>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4:$S$4</c:f>
              <c:numCache>
                <c:formatCode>0.00%</c:formatCode>
                <c:ptCount val="18"/>
                <c:pt idx="0">
                  <c:v>0.06</c:v>
                </c:pt>
                <c:pt idx="1">
                  <c:v>0.06</c:v>
                </c:pt>
                <c:pt idx="2">
                  <c:v>0.06</c:v>
                </c:pt>
                <c:pt idx="3">
                  <c:v>0.05</c:v>
                </c:pt>
                <c:pt idx="4">
                  <c:v>0.04</c:v>
                </c:pt>
                <c:pt idx="5">
                  <c:v>0.03</c:v>
                </c:pt>
                <c:pt idx="6">
                  <c:v>0.02</c:v>
                </c:pt>
                <c:pt idx="7">
                  <c:v>0.01</c:v>
                </c:pt>
                <c:pt idx="8">
                  <c:v>0</c:v>
                </c:pt>
                <c:pt idx="9">
                  <c:v>0</c:v>
                </c:pt>
                <c:pt idx="10">
                  <c:v>0</c:v>
                </c:pt>
                <c:pt idx="11">
                  <c:v>0</c:v>
                </c:pt>
                <c:pt idx="12">
                  <c:v>0</c:v>
                </c:pt>
                <c:pt idx="13">
                  <c:v>0</c:v>
                </c:pt>
                <c:pt idx="14">
                  <c:v>0</c:v>
                </c:pt>
                <c:pt idx="15">
                  <c:v>0</c:v>
                </c:pt>
                <c:pt idx="16">
                  <c:v>0</c:v>
                </c:pt>
                <c:pt idx="17">
                  <c:v>0</c:v>
                </c:pt>
              </c:numCache>
            </c:numRef>
          </c:val>
          <c:smooth val="0"/>
          <c:extLst>
            <c:ext xmlns:c16="http://schemas.microsoft.com/office/drawing/2014/chart" uri="{C3380CC4-5D6E-409C-BE32-E72D297353CC}">
              <c16:uniqueId val="{00000002-855F-42E2-8651-A237E888A02F}"/>
            </c:ext>
          </c:extLst>
        </c:ser>
        <c:ser>
          <c:idx val="4"/>
          <c:order val="3"/>
          <c:tx>
            <c:strRef>
              <c:f>'Tax Rates'!$A$5</c:f>
              <c:strCache>
                <c:ptCount val="1"/>
                <c:pt idx="0">
                  <c:v>Georgia</c:v>
                </c:pt>
              </c:strCache>
            </c:strRef>
          </c:tx>
          <c:spPr>
            <a:ln w="28575" cap="rnd">
              <a:solidFill>
                <a:srgbClr val="8026A8"/>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5:$S$5</c:f>
              <c:numCache>
                <c:formatCode>0.00%</c:formatCode>
                <c:ptCount val="18"/>
                <c:pt idx="0">
                  <c:v>0.06</c:v>
                </c:pt>
                <c:pt idx="1">
                  <c:v>0.06</c:v>
                </c:pt>
                <c:pt idx="2">
                  <c:v>0.06</c:v>
                </c:pt>
                <c:pt idx="3">
                  <c:v>0.06</c:v>
                </c:pt>
                <c:pt idx="4">
                  <c:v>0.06</c:v>
                </c:pt>
                <c:pt idx="5">
                  <c:v>0.06</c:v>
                </c:pt>
                <c:pt idx="6">
                  <c:v>5.7500000000000002E-2</c:v>
                </c:pt>
                <c:pt idx="7">
                  <c:v>5.7500000000000002E-2</c:v>
                </c:pt>
                <c:pt idx="8">
                  <c:v>5.7500000000000002E-2</c:v>
                </c:pt>
                <c:pt idx="9">
                  <c:v>5.7500000000000002E-2</c:v>
                </c:pt>
                <c:pt idx="10">
                  <c:v>5.4899999999999997E-2</c:v>
                </c:pt>
                <c:pt idx="11">
                  <c:v>5.3900000000000003E-2</c:v>
                </c:pt>
                <c:pt idx="12">
                  <c:v>5.2900000000000003E-2</c:v>
                </c:pt>
                <c:pt idx="13">
                  <c:v>5.1900000000000002E-2</c:v>
                </c:pt>
                <c:pt idx="14">
                  <c:v>5.0900000000000001E-2</c:v>
                </c:pt>
                <c:pt idx="15">
                  <c:v>4.99E-2</c:v>
                </c:pt>
                <c:pt idx="16">
                  <c:v>4.99E-2</c:v>
                </c:pt>
                <c:pt idx="17">
                  <c:v>4.99E-2</c:v>
                </c:pt>
              </c:numCache>
            </c:numRef>
          </c:val>
          <c:smooth val="0"/>
          <c:extLst>
            <c:ext xmlns:c16="http://schemas.microsoft.com/office/drawing/2014/chart" uri="{C3380CC4-5D6E-409C-BE32-E72D297353CC}">
              <c16:uniqueId val="{00000003-855F-42E2-8651-A237E888A02F}"/>
            </c:ext>
          </c:extLst>
        </c:ser>
        <c:ser>
          <c:idx val="6"/>
          <c:order val="4"/>
          <c:tx>
            <c:strRef>
              <c:f>'Tax Rates'!$A$6</c:f>
              <c:strCache>
                <c:ptCount val="1"/>
                <c:pt idx="0">
                  <c:v>Virginia</c:v>
                </c:pt>
              </c:strCache>
            </c:strRef>
          </c:tx>
          <c:spPr>
            <a:ln w="28575" cap="rnd">
              <a:solidFill>
                <a:srgbClr val="B52C19"/>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6:$S$6</c:f>
              <c:numCache>
                <c:formatCode>0.00%</c:formatCode>
                <c:ptCount val="18"/>
                <c:pt idx="0">
                  <c:v>5.7500000000000002E-2</c:v>
                </c:pt>
                <c:pt idx="1">
                  <c:v>5.7500000000000002E-2</c:v>
                </c:pt>
                <c:pt idx="2">
                  <c:v>5.7500000000000002E-2</c:v>
                </c:pt>
                <c:pt idx="3">
                  <c:v>5.7500000000000002E-2</c:v>
                </c:pt>
                <c:pt idx="4">
                  <c:v>5.7500000000000002E-2</c:v>
                </c:pt>
                <c:pt idx="5">
                  <c:v>5.7500000000000002E-2</c:v>
                </c:pt>
                <c:pt idx="6">
                  <c:v>5.7500000000000002E-2</c:v>
                </c:pt>
                <c:pt idx="7">
                  <c:v>5.7500000000000002E-2</c:v>
                </c:pt>
                <c:pt idx="8">
                  <c:v>5.7500000000000002E-2</c:v>
                </c:pt>
                <c:pt idx="9">
                  <c:v>5.7500000000000002E-2</c:v>
                </c:pt>
                <c:pt idx="10">
                  <c:v>5.7500000000000002E-2</c:v>
                </c:pt>
                <c:pt idx="11">
                  <c:v>5.7500000000000002E-2</c:v>
                </c:pt>
                <c:pt idx="12">
                  <c:v>5.7500000000000002E-2</c:v>
                </c:pt>
                <c:pt idx="13">
                  <c:v>5.7500000000000002E-2</c:v>
                </c:pt>
                <c:pt idx="14">
                  <c:v>5.7500000000000002E-2</c:v>
                </c:pt>
                <c:pt idx="15">
                  <c:v>5.7500000000000002E-2</c:v>
                </c:pt>
                <c:pt idx="16">
                  <c:v>5.7500000000000002E-2</c:v>
                </c:pt>
                <c:pt idx="17">
                  <c:v>5.7500000000000002E-2</c:v>
                </c:pt>
              </c:numCache>
            </c:numRef>
          </c:val>
          <c:smooth val="0"/>
          <c:extLst>
            <c:ext xmlns:c16="http://schemas.microsoft.com/office/drawing/2014/chart" uri="{C3380CC4-5D6E-409C-BE32-E72D297353CC}">
              <c16:uniqueId val="{00000004-855F-42E2-8651-A237E888A02F}"/>
            </c:ext>
          </c:extLst>
        </c:ser>
        <c:dLbls>
          <c:showLegendKey val="0"/>
          <c:showVal val="0"/>
          <c:showCatName val="0"/>
          <c:showSerName val="0"/>
          <c:showPercent val="0"/>
          <c:showBubbleSize val="0"/>
        </c:dLbls>
        <c:smooth val="0"/>
        <c:axId val="964968224"/>
        <c:axId val="964971136"/>
        <c:extLst/>
      </c:lineChart>
      <c:dateAx>
        <c:axId val="964968224"/>
        <c:scaling>
          <c:orientation val="minMax"/>
        </c:scaling>
        <c:delete val="0"/>
        <c:axPos val="b"/>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crossAx val="964971136"/>
        <c:crosses val="autoZero"/>
        <c:auto val="0"/>
        <c:lblOffset val="100"/>
        <c:baseTimeUnit val="days"/>
      </c:dateAx>
      <c:valAx>
        <c:axId val="964971136"/>
        <c:scaling>
          <c:orientation val="minMax"/>
          <c:max val="8.0000000000000016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crossAx val="964968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b="1" dirty="0">
                <a:solidFill>
                  <a:schemeClr val="accent1"/>
                </a:solidFill>
                <a:latin typeface="Verlag Bold" pitchFamily="2" charset="0"/>
              </a:rPr>
              <a:t>Corporate Income Tax Rates</a:t>
            </a:r>
          </a:p>
          <a:p>
            <a:pPr>
              <a:defRPr/>
            </a:pPr>
            <a:r>
              <a:rPr lang="en-US" b="1" dirty="0">
                <a:solidFill>
                  <a:schemeClr val="accent1"/>
                </a:solidFill>
                <a:latin typeface="Verlag Bold" pitchFamily="2" charset="0"/>
              </a:rPr>
              <a:t>2013-203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1"/>
          <c:order val="1"/>
          <c:tx>
            <c:strRef>
              <c:f>'Tax Rates'!$A$2</c:f>
              <c:strCache>
                <c:ptCount val="1"/>
                <c:pt idx="0">
                  <c:v>North Carolina</c:v>
                </c:pt>
              </c:strCache>
            </c:strRef>
          </c:tx>
          <c:spPr>
            <a:ln w="28575" cap="rnd">
              <a:solidFill>
                <a:schemeClr val="bg2">
                  <a:lumMod val="65000"/>
                </a:schemeClr>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2:$S$2</c:f>
              <c:numCache>
                <c:formatCode>0.00%</c:formatCode>
                <c:ptCount val="18"/>
                <c:pt idx="0">
                  <c:v>6.9000000000000006E-2</c:v>
                </c:pt>
                <c:pt idx="1">
                  <c:v>0.06</c:v>
                </c:pt>
                <c:pt idx="2">
                  <c:v>0.05</c:v>
                </c:pt>
                <c:pt idx="3">
                  <c:v>0.04</c:v>
                </c:pt>
                <c:pt idx="4">
                  <c:v>0.03</c:v>
                </c:pt>
                <c:pt idx="5">
                  <c:v>0.03</c:v>
                </c:pt>
                <c:pt idx="6">
                  <c:v>2.5000000000000001E-2</c:v>
                </c:pt>
                <c:pt idx="7">
                  <c:v>2.5000000000000001E-2</c:v>
                </c:pt>
                <c:pt idx="8">
                  <c:v>2.5000000000000001E-2</c:v>
                </c:pt>
                <c:pt idx="9">
                  <c:v>2.5000000000000001E-2</c:v>
                </c:pt>
                <c:pt idx="10">
                  <c:v>2.5000000000000001E-2</c:v>
                </c:pt>
                <c:pt idx="11">
                  <c:v>2.5000000000000001E-2</c:v>
                </c:pt>
                <c:pt idx="12">
                  <c:v>2.2499999999999999E-2</c:v>
                </c:pt>
                <c:pt idx="13">
                  <c:v>0.02</c:v>
                </c:pt>
                <c:pt idx="14">
                  <c:v>0.02</c:v>
                </c:pt>
                <c:pt idx="15">
                  <c:v>0.01</c:v>
                </c:pt>
                <c:pt idx="16">
                  <c:v>0.01</c:v>
                </c:pt>
                <c:pt idx="17">
                  <c:v>0</c:v>
                </c:pt>
              </c:numCache>
            </c:numRef>
          </c:val>
          <c:smooth val="0"/>
          <c:extLst>
            <c:ext xmlns:c16="http://schemas.microsoft.com/office/drawing/2014/chart" uri="{C3380CC4-5D6E-409C-BE32-E72D297353CC}">
              <c16:uniqueId val="{00000000-C2C8-4354-AAA6-CDB80633502A}"/>
            </c:ext>
          </c:extLst>
        </c:ser>
        <c:ser>
          <c:idx val="2"/>
          <c:order val="2"/>
          <c:tx>
            <c:strRef>
              <c:f>'Tax Rates'!$A$3</c:f>
              <c:strCache>
                <c:ptCount val="1"/>
                <c:pt idx="0">
                  <c:v>South Carolina</c:v>
                </c:pt>
              </c:strCache>
            </c:strRef>
          </c:tx>
          <c:spPr>
            <a:ln w="28575" cap="rnd">
              <a:solidFill>
                <a:srgbClr val="FFCC00"/>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3:$S$3</c:f>
              <c:numCache>
                <c:formatCode>0.00%</c:formatCode>
                <c:ptCount val="18"/>
                <c:pt idx="0">
                  <c:v>0.05</c:v>
                </c:pt>
                <c:pt idx="1">
                  <c:v>0.05</c:v>
                </c:pt>
                <c:pt idx="2">
                  <c:v>0.05</c:v>
                </c:pt>
                <c:pt idx="3">
                  <c:v>0.05</c:v>
                </c:pt>
                <c:pt idx="4">
                  <c:v>0.05</c:v>
                </c:pt>
                <c:pt idx="5">
                  <c:v>0.05</c:v>
                </c:pt>
                <c:pt idx="6">
                  <c:v>0.05</c:v>
                </c:pt>
                <c:pt idx="7">
                  <c:v>0.05</c:v>
                </c:pt>
                <c:pt idx="8">
                  <c:v>0.05</c:v>
                </c:pt>
                <c:pt idx="9">
                  <c:v>0.05</c:v>
                </c:pt>
                <c:pt idx="10">
                  <c:v>0.05</c:v>
                </c:pt>
                <c:pt idx="11">
                  <c:v>0.05</c:v>
                </c:pt>
                <c:pt idx="12">
                  <c:v>0.05</c:v>
                </c:pt>
                <c:pt idx="13">
                  <c:v>0.05</c:v>
                </c:pt>
                <c:pt idx="14">
                  <c:v>0.05</c:v>
                </c:pt>
                <c:pt idx="15">
                  <c:v>0.05</c:v>
                </c:pt>
                <c:pt idx="16">
                  <c:v>0.05</c:v>
                </c:pt>
                <c:pt idx="17">
                  <c:v>0.05</c:v>
                </c:pt>
              </c:numCache>
            </c:numRef>
          </c:val>
          <c:smooth val="0"/>
          <c:extLst>
            <c:ext xmlns:c16="http://schemas.microsoft.com/office/drawing/2014/chart" uri="{C3380CC4-5D6E-409C-BE32-E72D297353CC}">
              <c16:uniqueId val="{00000001-C2C8-4354-AAA6-CDB80633502A}"/>
            </c:ext>
          </c:extLst>
        </c:ser>
        <c:ser>
          <c:idx val="3"/>
          <c:order val="3"/>
          <c:tx>
            <c:strRef>
              <c:f>'Tax Rates'!$A$4</c:f>
              <c:strCache>
                <c:ptCount val="1"/>
                <c:pt idx="0">
                  <c:v>Tennessee</c:v>
                </c:pt>
              </c:strCache>
            </c:strRef>
          </c:tx>
          <c:spPr>
            <a:ln w="28575" cap="rnd">
              <a:solidFill>
                <a:srgbClr val="00B0F0"/>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4:$S$4</c:f>
              <c:numCache>
                <c:formatCode>0.00%</c:formatCode>
                <c:ptCount val="18"/>
                <c:pt idx="0">
                  <c:v>6.5000000000000002E-2</c:v>
                </c:pt>
                <c:pt idx="1">
                  <c:v>6.5000000000000002E-2</c:v>
                </c:pt>
                <c:pt idx="2">
                  <c:v>6.5000000000000002E-2</c:v>
                </c:pt>
                <c:pt idx="3">
                  <c:v>6.5000000000000002E-2</c:v>
                </c:pt>
                <c:pt idx="4">
                  <c:v>6.5000000000000002E-2</c:v>
                </c:pt>
                <c:pt idx="5">
                  <c:v>6.5000000000000002E-2</c:v>
                </c:pt>
                <c:pt idx="6">
                  <c:v>6.5000000000000002E-2</c:v>
                </c:pt>
                <c:pt idx="7">
                  <c:v>6.5000000000000002E-2</c:v>
                </c:pt>
                <c:pt idx="8">
                  <c:v>6.5000000000000002E-2</c:v>
                </c:pt>
                <c:pt idx="9">
                  <c:v>6.5000000000000002E-2</c:v>
                </c:pt>
                <c:pt idx="10">
                  <c:v>6.5000000000000002E-2</c:v>
                </c:pt>
                <c:pt idx="11">
                  <c:v>6.5000000000000002E-2</c:v>
                </c:pt>
                <c:pt idx="12">
                  <c:v>6.5000000000000002E-2</c:v>
                </c:pt>
                <c:pt idx="13">
                  <c:v>6.5000000000000002E-2</c:v>
                </c:pt>
                <c:pt idx="14">
                  <c:v>6.5000000000000002E-2</c:v>
                </c:pt>
                <c:pt idx="15">
                  <c:v>6.5000000000000002E-2</c:v>
                </c:pt>
                <c:pt idx="16">
                  <c:v>6.5000000000000002E-2</c:v>
                </c:pt>
                <c:pt idx="17">
                  <c:v>6.5000000000000002E-2</c:v>
                </c:pt>
              </c:numCache>
            </c:numRef>
          </c:val>
          <c:smooth val="0"/>
          <c:extLst>
            <c:ext xmlns:c16="http://schemas.microsoft.com/office/drawing/2014/chart" uri="{C3380CC4-5D6E-409C-BE32-E72D297353CC}">
              <c16:uniqueId val="{00000002-C2C8-4354-AAA6-CDB80633502A}"/>
            </c:ext>
          </c:extLst>
        </c:ser>
        <c:ser>
          <c:idx val="4"/>
          <c:order val="4"/>
          <c:tx>
            <c:strRef>
              <c:f>'Tax Rates'!$A$5</c:f>
              <c:strCache>
                <c:ptCount val="1"/>
                <c:pt idx="0">
                  <c:v>Georgia</c:v>
                </c:pt>
              </c:strCache>
            </c:strRef>
          </c:tx>
          <c:spPr>
            <a:ln w="28575" cap="rnd">
              <a:solidFill>
                <a:srgbClr val="8026A8"/>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5:$S$5</c:f>
              <c:numCache>
                <c:formatCode>0.00%</c:formatCode>
                <c:ptCount val="18"/>
                <c:pt idx="0">
                  <c:v>0.06</c:v>
                </c:pt>
                <c:pt idx="1">
                  <c:v>0.06</c:v>
                </c:pt>
                <c:pt idx="2">
                  <c:v>0.06</c:v>
                </c:pt>
                <c:pt idx="3">
                  <c:v>0.06</c:v>
                </c:pt>
                <c:pt idx="4">
                  <c:v>0.06</c:v>
                </c:pt>
                <c:pt idx="5">
                  <c:v>0.06</c:v>
                </c:pt>
                <c:pt idx="6">
                  <c:v>5.7500000000000002E-2</c:v>
                </c:pt>
                <c:pt idx="7">
                  <c:v>5.7500000000000002E-2</c:v>
                </c:pt>
                <c:pt idx="8">
                  <c:v>5.7500000000000002E-2</c:v>
                </c:pt>
                <c:pt idx="9">
                  <c:v>5.7500000000000002E-2</c:v>
                </c:pt>
                <c:pt idx="10">
                  <c:v>5.7500000000000002E-2</c:v>
                </c:pt>
                <c:pt idx="11">
                  <c:v>5.7500000000000002E-2</c:v>
                </c:pt>
                <c:pt idx="12">
                  <c:v>5.7500000000000002E-2</c:v>
                </c:pt>
                <c:pt idx="13">
                  <c:v>0.06</c:v>
                </c:pt>
                <c:pt idx="14">
                  <c:v>0.06</c:v>
                </c:pt>
                <c:pt idx="15">
                  <c:v>0.06</c:v>
                </c:pt>
                <c:pt idx="16">
                  <c:v>0.06</c:v>
                </c:pt>
                <c:pt idx="17">
                  <c:v>0.06</c:v>
                </c:pt>
              </c:numCache>
            </c:numRef>
          </c:val>
          <c:smooth val="0"/>
          <c:extLst>
            <c:ext xmlns:c16="http://schemas.microsoft.com/office/drawing/2014/chart" uri="{C3380CC4-5D6E-409C-BE32-E72D297353CC}">
              <c16:uniqueId val="{00000003-C2C8-4354-AAA6-CDB80633502A}"/>
            </c:ext>
          </c:extLst>
        </c:ser>
        <c:ser>
          <c:idx val="5"/>
          <c:order val="5"/>
          <c:tx>
            <c:strRef>
              <c:f>'Tax Rates'!$A$6</c:f>
              <c:strCache>
                <c:ptCount val="1"/>
                <c:pt idx="0">
                  <c:v>Florida</c:v>
                </c:pt>
              </c:strCache>
            </c:strRef>
          </c:tx>
          <c:spPr>
            <a:ln w="28575" cap="rnd">
              <a:solidFill>
                <a:schemeClr val="accent6"/>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6:$S$6</c:f>
              <c:numCache>
                <c:formatCode>0.00%</c:formatCode>
                <c:ptCount val="18"/>
                <c:pt idx="0">
                  <c:v>5.5E-2</c:v>
                </c:pt>
                <c:pt idx="1">
                  <c:v>5.5E-2</c:v>
                </c:pt>
                <c:pt idx="2">
                  <c:v>5.5E-2</c:v>
                </c:pt>
                <c:pt idx="3">
                  <c:v>5.5E-2</c:v>
                </c:pt>
                <c:pt idx="4">
                  <c:v>5.5E-2</c:v>
                </c:pt>
                <c:pt idx="5">
                  <c:v>5.5E-2</c:v>
                </c:pt>
                <c:pt idx="6">
                  <c:v>4.4580000000000002E-2</c:v>
                </c:pt>
                <c:pt idx="7">
                  <c:v>4.4580000000000002E-2</c:v>
                </c:pt>
                <c:pt idx="8">
                  <c:v>3.5349999999999999E-2</c:v>
                </c:pt>
                <c:pt idx="9">
                  <c:v>5.5E-2</c:v>
                </c:pt>
                <c:pt idx="10">
                  <c:v>5.5E-2</c:v>
                </c:pt>
                <c:pt idx="11">
                  <c:v>5.5E-2</c:v>
                </c:pt>
                <c:pt idx="12">
                  <c:v>5.5E-2</c:v>
                </c:pt>
                <c:pt idx="13">
                  <c:v>5.5E-2</c:v>
                </c:pt>
                <c:pt idx="14">
                  <c:v>5.5E-2</c:v>
                </c:pt>
                <c:pt idx="15">
                  <c:v>5.5E-2</c:v>
                </c:pt>
                <c:pt idx="16">
                  <c:v>5.5E-2</c:v>
                </c:pt>
                <c:pt idx="17">
                  <c:v>5.5E-2</c:v>
                </c:pt>
              </c:numCache>
            </c:numRef>
          </c:val>
          <c:smooth val="0"/>
          <c:extLst>
            <c:ext xmlns:c16="http://schemas.microsoft.com/office/drawing/2014/chart" uri="{C3380CC4-5D6E-409C-BE32-E72D297353CC}">
              <c16:uniqueId val="{00000004-C2C8-4354-AAA6-CDB80633502A}"/>
            </c:ext>
          </c:extLst>
        </c:ser>
        <c:ser>
          <c:idx val="6"/>
          <c:order val="6"/>
          <c:tx>
            <c:strRef>
              <c:f>'Tax Rates'!$A$7</c:f>
              <c:strCache>
                <c:ptCount val="1"/>
                <c:pt idx="0">
                  <c:v>Virginia</c:v>
                </c:pt>
              </c:strCache>
            </c:strRef>
          </c:tx>
          <c:spPr>
            <a:ln w="28575" cap="rnd">
              <a:solidFill>
                <a:srgbClr val="B52C19"/>
              </a:solidFill>
              <a:round/>
            </a:ln>
            <a:effectLst/>
          </c:spPr>
          <c:marker>
            <c:symbol val="none"/>
          </c:marker>
          <c:cat>
            <c:numRef>
              <c:f>'Tax Rates'!$B$1:$S$1</c:f>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f>'Tax Rates'!$B$7:$S$7</c:f>
              <c:numCache>
                <c:formatCode>0.00%</c:formatCode>
                <c:ptCount val="18"/>
                <c:pt idx="0">
                  <c:v>0.06</c:v>
                </c:pt>
                <c:pt idx="1">
                  <c:v>0.06</c:v>
                </c:pt>
                <c:pt idx="2">
                  <c:v>0.06</c:v>
                </c:pt>
                <c:pt idx="3">
                  <c:v>0.06</c:v>
                </c:pt>
                <c:pt idx="4">
                  <c:v>0.06</c:v>
                </c:pt>
                <c:pt idx="5">
                  <c:v>0.06</c:v>
                </c:pt>
                <c:pt idx="6">
                  <c:v>0.06</c:v>
                </c:pt>
                <c:pt idx="7">
                  <c:v>0.06</c:v>
                </c:pt>
                <c:pt idx="8">
                  <c:v>0.06</c:v>
                </c:pt>
                <c:pt idx="9">
                  <c:v>0.06</c:v>
                </c:pt>
                <c:pt idx="10">
                  <c:v>0.06</c:v>
                </c:pt>
                <c:pt idx="11">
                  <c:v>0.06</c:v>
                </c:pt>
                <c:pt idx="12">
                  <c:v>0.06</c:v>
                </c:pt>
                <c:pt idx="13">
                  <c:v>0.06</c:v>
                </c:pt>
                <c:pt idx="14">
                  <c:v>0.06</c:v>
                </c:pt>
                <c:pt idx="15">
                  <c:v>0.06</c:v>
                </c:pt>
                <c:pt idx="16">
                  <c:v>0.06</c:v>
                </c:pt>
                <c:pt idx="17">
                  <c:v>0.06</c:v>
                </c:pt>
              </c:numCache>
            </c:numRef>
          </c:val>
          <c:smooth val="0"/>
          <c:extLst>
            <c:ext xmlns:c16="http://schemas.microsoft.com/office/drawing/2014/chart" uri="{C3380CC4-5D6E-409C-BE32-E72D297353CC}">
              <c16:uniqueId val="{00000005-C2C8-4354-AAA6-CDB80633502A}"/>
            </c:ext>
          </c:extLst>
        </c:ser>
        <c:dLbls>
          <c:showLegendKey val="0"/>
          <c:showVal val="0"/>
          <c:showCatName val="0"/>
          <c:showSerName val="0"/>
          <c:showPercent val="0"/>
          <c:showBubbleSize val="0"/>
        </c:dLbls>
        <c:smooth val="0"/>
        <c:axId val="964968224"/>
        <c:axId val="964971136"/>
        <c:extLst>
          <c:ext xmlns:c15="http://schemas.microsoft.com/office/drawing/2012/chart" uri="{02D57815-91ED-43cb-92C2-25804820EDAC}">
            <c15:filteredLineSeries>
              <c15:ser>
                <c:idx val="0"/>
                <c:order val="0"/>
                <c:tx>
                  <c:strRef>
                    <c:extLst>
                      <c:ext uri="{02D57815-91ED-43cb-92C2-25804820EDAC}">
                        <c15:formulaRef>
                          <c15:sqref>'Tax Rates'!$A$1</c15:sqref>
                        </c15:formulaRef>
                      </c:ext>
                    </c:extLst>
                    <c:strCache>
                      <c:ptCount val="1"/>
                      <c:pt idx="0">
                        <c:v>State</c:v>
                      </c:pt>
                    </c:strCache>
                  </c:strRef>
                </c:tx>
                <c:spPr>
                  <a:ln w="28575" cap="rnd">
                    <a:solidFill>
                      <a:schemeClr val="accent1"/>
                    </a:solidFill>
                    <a:round/>
                  </a:ln>
                  <a:effectLst/>
                </c:spPr>
                <c:marker>
                  <c:symbol val="none"/>
                </c:marker>
                <c:cat>
                  <c:numRef>
                    <c:extLst>
                      <c:ext uri="{02D57815-91ED-43cb-92C2-25804820EDAC}">
                        <c15:formulaRef>
                          <c15:sqref>'Tax Rates'!$B$1:$S$1</c15:sqref>
                        </c15:formulaRef>
                      </c:ext>
                    </c:extLst>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cat>
                <c:val>
                  <c:numRef>
                    <c:extLst>
                      <c:ext uri="{02D57815-91ED-43cb-92C2-25804820EDAC}">
                        <c15:formulaRef>
                          <c15:sqref>'Tax Rates'!$B$1:$S$1</c15:sqref>
                        </c15:formulaRef>
                      </c:ext>
                    </c:extLst>
                    <c:numCache>
                      <c:formatCode>0</c:formatCode>
                      <c:ptCount val="1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numCache>
                  </c:numRef>
                </c:val>
                <c:smooth val="0"/>
                <c:extLst>
                  <c:ext xmlns:c16="http://schemas.microsoft.com/office/drawing/2014/chart" uri="{C3380CC4-5D6E-409C-BE32-E72D297353CC}">
                    <c16:uniqueId val="{00000006-C2C8-4354-AAA6-CDB80633502A}"/>
                  </c:ext>
                </c:extLst>
              </c15:ser>
            </c15:filteredLineSeries>
          </c:ext>
        </c:extLst>
      </c:lineChart>
      <c:dateAx>
        <c:axId val="964968224"/>
        <c:scaling>
          <c:orientation val="minMax"/>
        </c:scaling>
        <c:delete val="0"/>
        <c:axPos val="b"/>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crossAx val="964971136"/>
        <c:crosses val="autoZero"/>
        <c:auto val="0"/>
        <c:lblOffset val="100"/>
        <c:baseTimeUnit val="days"/>
      </c:dateAx>
      <c:valAx>
        <c:axId val="964971136"/>
        <c:scaling>
          <c:orientation val="minMax"/>
          <c:max val="8.0000000000000016E-2"/>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crossAx val="964968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lag Book"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Jan 2011 - Jan 2022 CAGR</c:v>
                </c:pt>
              </c:strCache>
            </c:strRef>
          </c:tx>
          <c:spPr>
            <a:solidFill>
              <a:schemeClr val="accent1"/>
            </a:solidFill>
            <a:ln>
              <a:noFill/>
            </a:ln>
            <a:effectLst/>
          </c:spPr>
          <c:invertIfNegative val="0"/>
          <c:cat>
            <c:strRef>
              <c:f>Sheet1!$A$2:$A$8</c:f>
              <c:strCache>
                <c:ptCount val="7"/>
                <c:pt idx="0">
                  <c:v>Virginia</c:v>
                </c:pt>
                <c:pt idx="1">
                  <c:v>Florida</c:v>
                </c:pt>
                <c:pt idx="2">
                  <c:v>Texas</c:v>
                </c:pt>
                <c:pt idx="3">
                  <c:v>Georgia</c:v>
                </c:pt>
                <c:pt idx="4">
                  <c:v>Tennessee</c:v>
                </c:pt>
                <c:pt idx="5">
                  <c:v>North Carolina</c:v>
                </c:pt>
                <c:pt idx="6">
                  <c:v>South Carolina</c:v>
                </c:pt>
              </c:strCache>
            </c:strRef>
          </c:cat>
          <c:val>
            <c:numRef>
              <c:f>Sheet1!$B$2:$B$8</c:f>
              <c:numCache>
                <c:formatCode>0.00%</c:formatCode>
                <c:ptCount val="7"/>
                <c:pt idx="0">
                  <c:v>8.0000000000000002E-3</c:v>
                </c:pt>
                <c:pt idx="1">
                  <c:v>2.1999999999999999E-2</c:v>
                </c:pt>
                <c:pt idx="2">
                  <c:v>0.02</c:v>
                </c:pt>
                <c:pt idx="3">
                  <c:v>1.7999999999999999E-2</c:v>
                </c:pt>
                <c:pt idx="4">
                  <c:v>1.7000000000000001E-2</c:v>
                </c:pt>
                <c:pt idx="5">
                  <c:v>1.7000000000000001E-2</c:v>
                </c:pt>
                <c:pt idx="6">
                  <c:v>1.7000000000000001E-2</c:v>
                </c:pt>
              </c:numCache>
            </c:numRef>
          </c:val>
          <c:extLst>
            <c:ext xmlns:c16="http://schemas.microsoft.com/office/drawing/2014/chart" uri="{C3380CC4-5D6E-409C-BE32-E72D297353CC}">
              <c16:uniqueId val="{00000000-97EB-4112-991D-781A9B7F6B25}"/>
            </c:ext>
          </c:extLst>
        </c:ser>
        <c:ser>
          <c:idx val="1"/>
          <c:order val="1"/>
          <c:tx>
            <c:strRef>
              <c:f>Sheet1!$C$1</c:f>
              <c:strCache>
                <c:ptCount val="1"/>
                <c:pt idx="0">
                  <c:v>YTD Growth</c:v>
                </c:pt>
              </c:strCache>
            </c:strRef>
          </c:tx>
          <c:spPr>
            <a:solidFill>
              <a:srgbClr val="B52C19"/>
            </a:solidFill>
            <a:ln>
              <a:noFill/>
            </a:ln>
            <a:effectLst/>
          </c:spPr>
          <c:invertIfNegative val="0"/>
          <c:cat>
            <c:strRef>
              <c:f>Sheet1!$A$2:$A$8</c:f>
              <c:strCache>
                <c:ptCount val="7"/>
                <c:pt idx="0">
                  <c:v>Virginia</c:v>
                </c:pt>
                <c:pt idx="1">
                  <c:v>Florida</c:v>
                </c:pt>
                <c:pt idx="2">
                  <c:v>Texas</c:v>
                </c:pt>
                <c:pt idx="3">
                  <c:v>Georgia</c:v>
                </c:pt>
                <c:pt idx="4">
                  <c:v>Tennessee</c:v>
                </c:pt>
                <c:pt idx="5">
                  <c:v>North Carolina</c:v>
                </c:pt>
                <c:pt idx="6">
                  <c:v>South Carolina</c:v>
                </c:pt>
              </c:strCache>
            </c:strRef>
          </c:cat>
          <c:val>
            <c:numRef>
              <c:f>Sheet1!$C$2:$C$8</c:f>
              <c:numCache>
                <c:formatCode>0.00%</c:formatCode>
                <c:ptCount val="7"/>
                <c:pt idx="0">
                  <c:v>2.5000000000000001E-2</c:v>
                </c:pt>
                <c:pt idx="1">
                  <c:v>4.2000000000000003E-2</c:v>
                </c:pt>
                <c:pt idx="2">
                  <c:v>4.2999999999999997E-2</c:v>
                </c:pt>
                <c:pt idx="3">
                  <c:v>2.8000000000000001E-2</c:v>
                </c:pt>
                <c:pt idx="4">
                  <c:v>0.03</c:v>
                </c:pt>
                <c:pt idx="5">
                  <c:v>3.6999999999999998E-2</c:v>
                </c:pt>
                <c:pt idx="6">
                  <c:v>3.1E-2</c:v>
                </c:pt>
              </c:numCache>
            </c:numRef>
          </c:val>
          <c:extLst>
            <c:ext xmlns:c16="http://schemas.microsoft.com/office/drawing/2014/chart" uri="{C3380CC4-5D6E-409C-BE32-E72D297353CC}">
              <c16:uniqueId val="{00000001-97EB-4112-991D-781A9B7F6B25}"/>
            </c:ext>
          </c:extLst>
        </c:ser>
        <c:dLbls>
          <c:showLegendKey val="0"/>
          <c:showVal val="0"/>
          <c:showCatName val="0"/>
          <c:showSerName val="0"/>
          <c:showPercent val="0"/>
          <c:showBubbleSize val="0"/>
        </c:dLbls>
        <c:gapWidth val="219"/>
        <c:overlap val="-27"/>
        <c:axId val="1758727359"/>
        <c:axId val="1758728191"/>
      </c:barChart>
      <c:catAx>
        <c:axId val="1758727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8728191"/>
        <c:crosses val="autoZero"/>
        <c:auto val="1"/>
        <c:lblAlgn val="ctr"/>
        <c:lblOffset val="100"/>
        <c:noMultiLvlLbl val="0"/>
      </c:catAx>
      <c:valAx>
        <c:axId val="175872819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8727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7987229983994E-2"/>
          <c:y val="3.3493488179777875E-2"/>
          <c:w val="0.72036591550094142"/>
          <c:h val="0.8501712591565419"/>
        </c:manualLayout>
      </c:layout>
      <c:lineChart>
        <c:grouping val="standard"/>
        <c:varyColors val="0"/>
        <c:ser>
          <c:idx val="0"/>
          <c:order val="0"/>
          <c:tx>
            <c:strRef>
              <c:f>Sheet1!$B$1</c:f>
              <c:strCache>
                <c:ptCount val="1"/>
                <c:pt idx="0">
                  <c:v>Florida</c:v>
                </c:pt>
              </c:strCache>
            </c:strRef>
          </c:tx>
          <c:spPr>
            <a:ln w="28575" cap="rnd">
              <a:solidFill>
                <a:schemeClr val="accent1"/>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B$2:$B$35</c:f>
              <c:numCache>
                <c:formatCode>_(* #,##0.0_);_(* \(#,##0.0\);_(* "-"??_);_(@_)</c:formatCode>
                <c:ptCount val="34"/>
                <c:pt idx="0">
                  <c:v>100</c:v>
                </c:pt>
                <c:pt idx="1">
                  <c:v>97.6</c:v>
                </c:pt>
                <c:pt idx="2">
                  <c:v>81.3</c:v>
                </c:pt>
                <c:pt idx="3">
                  <c:v>86.3</c:v>
                </c:pt>
                <c:pt idx="4">
                  <c:v>87.9</c:v>
                </c:pt>
                <c:pt idx="5">
                  <c:v>89.4</c:v>
                </c:pt>
                <c:pt idx="6">
                  <c:v>91.8</c:v>
                </c:pt>
                <c:pt idx="7">
                  <c:v>92.9</c:v>
                </c:pt>
                <c:pt idx="8">
                  <c:v>93.7</c:v>
                </c:pt>
                <c:pt idx="9">
                  <c:v>94.2</c:v>
                </c:pt>
                <c:pt idx="10">
                  <c:v>94.7</c:v>
                </c:pt>
                <c:pt idx="11">
                  <c:v>95.1</c:v>
                </c:pt>
                <c:pt idx="12">
                  <c:v>95.7</c:v>
                </c:pt>
                <c:pt idx="13">
                  <c:v>96.3</c:v>
                </c:pt>
                <c:pt idx="14">
                  <c:v>97</c:v>
                </c:pt>
                <c:pt idx="15">
                  <c:v>97.7</c:v>
                </c:pt>
                <c:pt idx="16">
                  <c:v>98.3</c:v>
                </c:pt>
                <c:pt idx="17">
                  <c:v>98.9</c:v>
                </c:pt>
                <c:pt idx="18">
                  <c:v>99.4</c:v>
                </c:pt>
                <c:pt idx="19">
                  <c:v>99.8</c:v>
                </c:pt>
                <c:pt idx="20">
                  <c:v>100.2</c:v>
                </c:pt>
                <c:pt idx="21">
                  <c:v>100.2</c:v>
                </c:pt>
                <c:pt idx="22">
                  <c:v>100.2</c:v>
                </c:pt>
                <c:pt idx="23">
                  <c:v>100.7</c:v>
                </c:pt>
                <c:pt idx="24">
                  <c:v>101.1</c:v>
                </c:pt>
                <c:pt idx="25">
                  <c:v>101.6</c:v>
                </c:pt>
                <c:pt idx="26">
                  <c:v>102.1</c:v>
                </c:pt>
                <c:pt idx="27">
                  <c:v>102.7</c:v>
                </c:pt>
                <c:pt idx="28">
                  <c:v>103.2</c:v>
                </c:pt>
                <c:pt idx="29">
                  <c:v>103.6</c:v>
                </c:pt>
                <c:pt idx="30">
                  <c:v>104</c:v>
                </c:pt>
                <c:pt idx="31">
                  <c:v>104.3</c:v>
                </c:pt>
                <c:pt idx="32">
                  <c:v>104.5</c:v>
                </c:pt>
                <c:pt idx="33">
                  <c:v>104.6</c:v>
                </c:pt>
              </c:numCache>
            </c:numRef>
          </c:val>
          <c:smooth val="1"/>
          <c:extLst>
            <c:ext xmlns:c16="http://schemas.microsoft.com/office/drawing/2014/chart" uri="{C3380CC4-5D6E-409C-BE32-E72D297353CC}">
              <c16:uniqueId val="{00000000-FA09-4E75-882D-713D7E1B49AD}"/>
            </c:ext>
          </c:extLst>
        </c:ser>
        <c:ser>
          <c:idx val="1"/>
          <c:order val="1"/>
          <c:tx>
            <c:strRef>
              <c:f>Sheet1!$C$1</c:f>
              <c:strCache>
                <c:ptCount val="1"/>
                <c:pt idx="0">
                  <c:v>Texas</c:v>
                </c:pt>
              </c:strCache>
            </c:strRef>
          </c:tx>
          <c:spPr>
            <a:ln w="28575" cap="rnd">
              <a:solidFill>
                <a:srgbClr val="97CAED"/>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C$2:$C$35</c:f>
              <c:numCache>
                <c:formatCode>_(* #,##0.0_);_(* \(#,##0.0\);_(* "-"??_);_(@_)</c:formatCode>
                <c:ptCount val="34"/>
                <c:pt idx="0">
                  <c:v>100</c:v>
                </c:pt>
                <c:pt idx="1">
                  <c:v>97.5</c:v>
                </c:pt>
                <c:pt idx="2">
                  <c:v>85.6</c:v>
                </c:pt>
                <c:pt idx="3">
                  <c:v>90.4</c:v>
                </c:pt>
                <c:pt idx="4">
                  <c:v>92</c:v>
                </c:pt>
                <c:pt idx="5">
                  <c:v>93.6</c:v>
                </c:pt>
                <c:pt idx="6">
                  <c:v>94.8</c:v>
                </c:pt>
                <c:pt idx="7">
                  <c:v>95.9</c:v>
                </c:pt>
                <c:pt idx="8">
                  <c:v>96.5</c:v>
                </c:pt>
                <c:pt idx="9">
                  <c:v>97</c:v>
                </c:pt>
                <c:pt idx="10">
                  <c:v>97.3</c:v>
                </c:pt>
                <c:pt idx="11">
                  <c:v>97.5</c:v>
                </c:pt>
                <c:pt idx="12">
                  <c:v>97.9</c:v>
                </c:pt>
                <c:pt idx="13">
                  <c:v>98.3</c:v>
                </c:pt>
                <c:pt idx="14">
                  <c:v>98.7</c:v>
                </c:pt>
                <c:pt idx="15">
                  <c:v>99.2</c:v>
                </c:pt>
                <c:pt idx="16">
                  <c:v>99.6</c:v>
                </c:pt>
                <c:pt idx="17">
                  <c:v>99.9</c:v>
                </c:pt>
                <c:pt idx="18">
                  <c:v>100.3</c:v>
                </c:pt>
                <c:pt idx="19">
                  <c:v>100.6</c:v>
                </c:pt>
                <c:pt idx="20">
                  <c:v>100.9</c:v>
                </c:pt>
                <c:pt idx="21">
                  <c:v>100.9</c:v>
                </c:pt>
                <c:pt idx="22">
                  <c:v>101</c:v>
                </c:pt>
                <c:pt idx="23">
                  <c:v>101.3</c:v>
                </c:pt>
                <c:pt idx="24">
                  <c:v>101.7</c:v>
                </c:pt>
                <c:pt idx="25">
                  <c:v>102.3</c:v>
                </c:pt>
                <c:pt idx="26">
                  <c:v>102.8</c:v>
                </c:pt>
                <c:pt idx="27">
                  <c:v>103.3</c:v>
                </c:pt>
                <c:pt idx="28">
                  <c:v>103.7</c:v>
                </c:pt>
                <c:pt idx="29">
                  <c:v>103.9</c:v>
                </c:pt>
                <c:pt idx="30">
                  <c:v>104</c:v>
                </c:pt>
                <c:pt idx="31">
                  <c:v>104</c:v>
                </c:pt>
                <c:pt idx="32">
                  <c:v>104</c:v>
                </c:pt>
                <c:pt idx="33" formatCode="#,##0.00">
                  <c:v>104.1</c:v>
                </c:pt>
              </c:numCache>
            </c:numRef>
          </c:val>
          <c:smooth val="1"/>
          <c:extLst>
            <c:ext xmlns:c16="http://schemas.microsoft.com/office/drawing/2014/chart" uri="{C3380CC4-5D6E-409C-BE32-E72D297353CC}">
              <c16:uniqueId val="{00000000-4409-420D-B561-D87B2B1C5408}"/>
            </c:ext>
          </c:extLst>
        </c:ser>
        <c:ser>
          <c:idx val="2"/>
          <c:order val="2"/>
          <c:tx>
            <c:strRef>
              <c:f>Sheet1!$D$1</c:f>
              <c:strCache>
                <c:ptCount val="1"/>
                <c:pt idx="0">
                  <c:v>South Carolina</c:v>
                </c:pt>
              </c:strCache>
            </c:strRef>
          </c:tx>
          <c:spPr>
            <a:ln w="28575" cap="rnd">
              <a:solidFill>
                <a:schemeClr val="accent4"/>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D$2:$D$35</c:f>
              <c:numCache>
                <c:formatCode>_(* #,##0.0_);_(* \(#,##0.0\);_(* "-"??_);_(@_)</c:formatCode>
                <c:ptCount val="34"/>
                <c:pt idx="0">
                  <c:v>100</c:v>
                </c:pt>
                <c:pt idx="1">
                  <c:v>99.6</c:v>
                </c:pt>
                <c:pt idx="2">
                  <c:v>90.8</c:v>
                </c:pt>
                <c:pt idx="3">
                  <c:v>93.8</c:v>
                </c:pt>
                <c:pt idx="4">
                  <c:v>95</c:v>
                </c:pt>
                <c:pt idx="5">
                  <c:v>96.3</c:v>
                </c:pt>
                <c:pt idx="6">
                  <c:v>97.3</c:v>
                </c:pt>
                <c:pt idx="7">
                  <c:v>98.2</c:v>
                </c:pt>
                <c:pt idx="8">
                  <c:v>98.8</c:v>
                </c:pt>
                <c:pt idx="9">
                  <c:v>99.1</c:v>
                </c:pt>
                <c:pt idx="10">
                  <c:v>99.4</c:v>
                </c:pt>
                <c:pt idx="11">
                  <c:v>99.6</c:v>
                </c:pt>
                <c:pt idx="12">
                  <c:v>99.9</c:v>
                </c:pt>
                <c:pt idx="13">
                  <c:v>100.2</c:v>
                </c:pt>
                <c:pt idx="14">
                  <c:v>100.5</c:v>
                </c:pt>
                <c:pt idx="15">
                  <c:v>100.8</c:v>
                </c:pt>
                <c:pt idx="16">
                  <c:v>100.9</c:v>
                </c:pt>
                <c:pt idx="17">
                  <c:v>101.1</c:v>
                </c:pt>
                <c:pt idx="18">
                  <c:v>101.2</c:v>
                </c:pt>
                <c:pt idx="19">
                  <c:v>101.4</c:v>
                </c:pt>
                <c:pt idx="20">
                  <c:v>101.5</c:v>
                </c:pt>
                <c:pt idx="21">
                  <c:v>101.6</c:v>
                </c:pt>
                <c:pt idx="22">
                  <c:v>101.7</c:v>
                </c:pt>
                <c:pt idx="23">
                  <c:v>101.9</c:v>
                </c:pt>
                <c:pt idx="24">
                  <c:v>102.1</c:v>
                </c:pt>
                <c:pt idx="25">
                  <c:v>102.4</c:v>
                </c:pt>
                <c:pt idx="26">
                  <c:v>102.8</c:v>
                </c:pt>
                <c:pt idx="27">
                  <c:v>103.2</c:v>
                </c:pt>
                <c:pt idx="28">
                  <c:v>103.4</c:v>
                </c:pt>
                <c:pt idx="29">
                  <c:v>103.3</c:v>
                </c:pt>
                <c:pt idx="30">
                  <c:v>103.1</c:v>
                </c:pt>
                <c:pt idx="31">
                  <c:v>103</c:v>
                </c:pt>
                <c:pt idx="32">
                  <c:v>102.6</c:v>
                </c:pt>
                <c:pt idx="33">
                  <c:v>102.4</c:v>
                </c:pt>
              </c:numCache>
            </c:numRef>
          </c:val>
          <c:smooth val="1"/>
          <c:extLst>
            <c:ext xmlns:c16="http://schemas.microsoft.com/office/drawing/2014/chart" uri="{C3380CC4-5D6E-409C-BE32-E72D297353CC}">
              <c16:uniqueId val="{00000001-4409-420D-B561-D87B2B1C5408}"/>
            </c:ext>
          </c:extLst>
        </c:ser>
        <c:ser>
          <c:idx val="3"/>
          <c:order val="3"/>
          <c:tx>
            <c:strRef>
              <c:f>Sheet1!$E$1</c:f>
              <c:strCache>
                <c:ptCount val="1"/>
                <c:pt idx="0">
                  <c:v>Georgia</c:v>
                </c:pt>
              </c:strCache>
            </c:strRef>
          </c:tx>
          <c:spPr>
            <a:ln w="28575" cap="rnd">
              <a:solidFill>
                <a:schemeClr val="accent3"/>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E$2:$E$35</c:f>
              <c:numCache>
                <c:formatCode>_(* #,##0.0_);_(* \(#,##0.0\);_(* "-"??_);_(@_)</c:formatCode>
                <c:ptCount val="34"/>
                <c:pt idx="0">
                  <c:v>100</c:v>
                </c:pt>
                <c:pt idx="1">
                  <c:v>99.8</c:v>
                </c:pt>
                <c:pt idx="2">
                  <c:v>86.7</c:v>
                </c:pt>
                <c:pt idx="3">
                  <c:v>91.2</c:v>
                </c:pt>
                <c:pt idx="4">
                  <c:v>91.3</c:v>
                </c:pt>
                <c:pt idx="5">
                  <c:v>91.8</c:v>
                </c:pt>
                <c:pt idx="6">
                  <c:v>92.1</c:v>
                </c:pt>
                <c:pt idx="7">
                  <c:v>92.5</c:v>
                </c:pt>
                <c:pt idx="8">
                  <c:v>97.9</c:v>
                </c:pt>
                <c:pt idx="9">
                  <c:v>98.1</c:v>
                </c:pt>
                <c:pt idx="10">
                  <c:v>98.2</c:v>
                </c:pt>
                <c:pt idx="11">
                  <c:v>98.4</c:v>
                </c:pt>
                <c:pt idx="12">
                  <c:v>98.6</c:v>
                </c:pt>
                <c:pt idx="13">
                  <c:v>98.8</c:v>
                </c:pt>
                <c:pt idx="14">
                  <c:v>99.1</c:v>
                </c:pt>
                <c:pt idx="15">
                  <c:v>99.3</c:v>
                </c:pt>
                <c:pt idx="16">
                  <c:v>99.5</c:v>
                </c:pt>
                <c:pt idx="17">
                  <c:v>99.7</c:v>
                </c:pt>
                <c:pt idx="18">
                  <c:v>99.9</c:v>
                </c:pt>
                <c:pt idx="19">
                  <c:v>100.2</c:v>
                </c:pt>
                <c:pt idx="20">
                  <c:v>100.5</c:v>
                </c:pt>
                <c:pt idx="21">
                  <c:v>100.5</c:v>
                </c:pt>
                <c:pt idx="22">
                  <c:v>100.5</c:v>
                </c:pt>
                <c:pt idx="23">
                  <c:v>100.9</c:v>
                </c:pt>
                <c:pt idx="24">
                  <c:v>101.3</c:v>
                </c:pt>
                <c:pt idx="25">
                  <c:v>101.7</c:v>
                </c:pt>
                <c:pt idx="26">
                  <c:v>102.1</c:v>
                </c:pt>
                <c:pt idx="27">
                  <c:v>102.5</c:v>
                </c:pt>
                <c:pt idx="28">
                  <c:v>102.7</c:v>
                </c:pt>
                <c:pt idx="29">
                  <c:v>102.7</c:v>
                </c:pt>
                <c:pt idx="30">
                  <c:v>102.6</c:v>
                </c:pt>
                <c:pt idx="31">
                  <c:v>102.5</c:v>
                </c:pt>
                <c:pt idx="32">
                  <c:v>102.3</c:v>
                </c:pt>
                <c:pt idx="33">
                  <c:v>102.1</c:v>
                </c:pt>
              </c:numCache>
            </c:numRef>
          </c:val>
          <c:smooth val="1"/>
          <c:extLst>
            <c:ext xmlns:c16="http://schemas.microsoft.com/office/drawing/2014/chart" uri="{C3380CC4-5D6E-409C-BE32-E72D297353CC}">
              <c16:uniqueId val="{00000002-4409-420D-B561-D87B2B1C5408}"/>
            </c:ext>
          </c:extLst>
        </c:ser>
        <c:ser>
          <c:idx val="4"/>
          <c:order val="4"/>
          <c:tx>
            <c:strRef>
              <c:f>Sheet1!$F$1</c:f>
              <c:strCache>
                <c:ptCount val="1"/>
                <c:pt idx="0">
                  <c:v>North Carolina</c:v>
                </c:pt>
              </c:strCache>
            </c:strRef>
          </c:tx>
          <c:spPr>
            <a:ln w="28575" cap="rnd">
              <a:solidFill>
                <a:schemeClr val="accent5"/>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F$2:$F$35</c:f>
              <c:numCache>
                <c:formatCode>_(* #,##0.0_);_(* \(#,##0.0\);_(* "-"??_);_(@_)</c:formatCode>
                <c:ptCount val="34"/>
                <c:pt idx="0">
                  <c:v>100</c:v>
                </c:pt>
                <c:pt idx="1">
                  <c:v>95.6</c:v>
                </c:pt>
                <c:pt idx="2">
                  <c:v>82.5</c:v>
                </c:pt>
                <c:pt idx="3">
                  <c:v>87.5</c:v>
                </c:pt>
                <c:pt idx="4">
                  <c:v>89.4</c:v>
                </c:pt>
                <c:pt idx="5">
                  <c:v>91.3</c:v>
                </c:pt>
                <c:pt idx="6">
                  <c:v>92.7</c:v>
                </c:pt>
                <c:pt idx="7">
                  <c:v>93.8</c:v>
                </c:pt>
                <c:pt idx="8">
                  <c:v>94.6</c:v>
                </c:pt>
                <c:pt idx="9">
                  <c:v>95.1</c:v>
                </c:pt>
                <c:pt idx="10">
                  <c:v>95.5</c:v>
                </c:pt>
                <c:pt idx="11">
                  <c:v>95.8</c:v>
                </c:pt>
                <c:pt idx="12">
                  <c:v>96.1</c:v>
                </c:pt>
                <c:pt idx="13">
                  <c:v>96.5</c:v>
                </c:pt>
                <c:pt idx="14">
                  <c:v>96.8</c:v>
                </c:pt>
                <c:pt idx="15">
                  <c:v>97.2</c:v>
                </c:pt>
                <c:pt idx="16">
                  <c:v>97.5</c:v>
                </c:pt>
                <c:pt idx="17">
                  <c:v>97.9</c:v>
                </c:pt>
                <c:pt idx="18">
                  <c:v>98.2</c:v>
                </c:pt>
                <c:pt idx="19">
                  <c:v>98.6</c:v>
                </c:pt>
                <c:pt idx="20">
                  <c:v>98.9</c:v>
                </c:pt>
                <c:pt idx="21">
                  <c:v>99</c:v>
                </c:pt>
                <c:pt idx="22">
                  <c:v>99</c:v>
                </c:pt>
                <c:pt idx="23">
                  <c:v>99.5</c:v>
                </c:pt>
                <c:pt idx="24">
                  <c:v>99.9</c:v>
                </c:pt>
                <c:pt idx="25">
                  <c:v>100.4</c:v>
                </c:pt>
                <c:pt idx="26">
                  <c:v>101</c:v>
                </c:pt>
                <c:pt idx="27">
                  <c:v>101.7</c:v>
                </c:pt>
                <c:pt idx="28">
                  <c:v>102</c:v>
                </c:pt>
                <c:pt idx="29">
                  <c:v>102.3</c:v>
                </c:pt>
                <c:pt idx="30">
                  <c:v>102.3</c:v>
                </c:pt>
                <c:pt idx="31">
                  <c:v>102.3</c:v>
                </c:pt>
                <c:pt idx="32">
                  <c:v>102.1</c:v>
                </c:pt>
                <c:pt idx="33">
                  <c:v>101.9</c:v>
                </c:pt>
              </c:numCache>
            </c:numRef>
          </c:val>
          <c:smooth val="1"/>
          <c:extLst>
            <c:ext xmlns:c16="http://schemas.microsoft.com/office/drawing/2014/chart" uri="{C3380CC4-5D6E-409C-BE32-E72D297353CC}">
              <c16:uniqueId val="{00000003-4409-420D-B561-D87B2B1C5408}"/>
            </c:ext>
          </c:extLst>
        </c:ser>
        <c:ser>
          <c:idx val="5"/>
          <c:order val="5"/>
          <c:tx>
            <c:strRef>
              <c:f>Sheet1!$G$1</c:f>
              <c:strCache>
                <c:ptCount val="1"/>
                <c:pt idx="0">
                  <c:v>Tennessee</c:v>
                </c:pt>
              </c:strCache>
            </c:strRef>
          </c:tx>
          <c:spPr>
            <a:ln w="28575" cap="rnd">
              <a:solidFill>
                <a:schemeClr val="accent6"/>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G$2:$G$35</c:f>
              <c:numCache>
                <c:formatCode>_(* #,##0.0_);_(* \(#,##0.0\);_(* "-"??_);_(@_)</c:formatCode>
                <c:ptCount val="34"/>
                <c:pt idx="0">
                  <c:v>100</c:v>
                </c:pt>
                <c:pt idx="1">
                  <c:v>99.6</c:v>
                </c:pt>
                <c:pt idx="2">
                  <c:v>83.9</c:v>
                </c:pt>
                <c:pt idx="3">
                  <c:v>89.3</c:v>
                </c:pt>
                <c:pt idx="4">
                  <c:v>91.1</c:v>
                </c:pt>
                <c:pt idx="5">
                  <c:v>92.9</c:v>
                </c:pt>
                <c:pt idx="6">
                  <c:v>94.4</c:v>
                </c:pt>
                <c:pt idx="7">
                  <c:v>95.7</c:v>
                </c:pt>
                <c:pt idx="8">
                  <c:v>96.6</c:v>
                </c:pt>
                <c:pt idx="9">
                  <c:v>97.2</c:v>
                </c:pt>
                <c:pt idx="10">
                  <c:v>97.5</c:v>
                </c:pt>
                <c:pt idx="11">
                  <c:v>97.6</c:v>
                </c:pt>
                <c:pt idx="12">
                  <c:v>97.7</c:v>
                </c:pt>
                <c:pt idx="13">
                  <c:v>97.9</c:v>
                </c:pt>
                <c:pt idx="14">
                  <c:v>98.2</c:v>
                </c:pt>
                <c:pt idx="15">
                  <c:v>98.6</c:v>
                </c:pt>
                <c:pt idx="16">
                  <c:v>98.9</c:v>
                </c:pt>
                <c:pt idx="17">
                  <c:v>99.2</c:v>
                </c:pt>
                <c:pt idx="18">
                  <c:v>99.4</c:v>
                </c:pt>
                <c:pt idx="19">
                  <c:v>99.7</c:v>
                </c:pt>
                <c:pt idx="20">
                  <c:v>99.9</c:v>
                </c:pt>
                <c:pt idx="21">
                  <c:v>100</c:v>
                </c:pt>
                <c:pt idx="22">
                  <c:v>100</c:v>
                </c:pt>
                <c:pt idx="23">
                  <c:v>100.3</c:v>
                </c:pt>
                <c:pt idx="24">
                  <c:v>100.7</c:v>
                </c:pt>
                <c:pt idx="25">
                  <c:v>101.3</c:v>
                </c:pt>
                <c:pt idx="26">
                  <c:v>101.9</c:v>
                </c:pt>
                <c:pt idx="27">
                  <c:v>102.3</c:v>
                </c:pt>
                <c:pt idx="28">
                  <c:v>102.5</c:v>
                </c:pt>
                <c:pt idx="29">
                  <c:v>102.4</c:v>
                </c:pt>
                <c:pt idx="30">
                  <c:v>102</c:v>
                </c:pt>
                <c:pt idx="31">
                  <c:v>101.6</c:v>
                </c:pt>
                <c:pt idx="32">
                  <c:v>101</c:v>
                </c:pt>
                <c:pt idx="33">
                  <c:v>100.3</c:v>
                </c:pt>
              </c:numCache>
            </c:numRef>
          </c:val>
          <c:smooth val="1"/>
          <c:extLst>
            <c:ext xmlns:c16="http://schemas.microsoft.com/office/drawing/2014/chart" uri="{C3380CC4-5D6E-409C-BE32-E72D297353CC}">
              <c16:uniqueId val="{00000004-4409-420D-B561-D87B2B1C5408}"/>
            </c:ext>
          </c:extLst>
        </c:ser>
        <c:ser>
          <c:idx val="6"/>
          <c:order val="6"/>
          <c:tx>
            <c:strRef>
              <c:f>Sheet1!$H$1</c:f>
              <c:strCache>
                <c:ptCount val="1"/>
                <c:pt idx="0">
                  <c:v>Virginia</c:v>
                </c:pt>
              </c:strCache>
            </c:strRef>
          </c:tx>
          <c:spPr>
            <a:ln w="28575" cap="rnd">
              <a:solidFill>
                <a:schemeClr val="accent2"/>
              </a:solidFill>
              <a:round/>
            </a:ln>
            <a:effectLst/>
          </c:spPr>
          <c:marker>
            <c:symbol val="none"/>
          </c:marker>
          <c:cat>
            <c:strRef>
              <c:f>Sheet1!$A$2:$A$35</c:f>
              <c:strCache>
                <c:ptCount val="34"/>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y</c:v>
                </c:pt>
                <c:pt idx="30">
                  <c:v>Aug</c:v>
                </c:pt>
                <c:pt idx="31">
                  <c:v>Sept</c:v>
                </c:pt>
                <c:pt idx="32">
                  <c:v>Oct</c:v>
                </c:pt>
                <c:pt idx="33">
                  <c:v>Nov</c:v>
                </c:pt>
              </c:strCache>
            </c:strRef>
          </c:cat>
          <c:val>
            <c:numRef>
              <c:f>Sheet1!$H$2:$H$35</c:f>
              <c:numCache>
                <c:formatCode>_(* #,##0.0_);_(* \(#,##0.0\);_(* "-"??_);_(@_)</c:formatCode>
                <c:ptCount val="34"/>
                <c:pt idx="0">
                  <c:v>100</c:v>
                </c:pt>
                <c:pt idx="1">
                  <c:v>99.9</c:v>
                </c:pt>
                <c:pt idx="2">
                  <c:v>90.2</c:v>
                </c:pt>
                <c:pt idx="3">
                  <c:v>90.6</c:v>
                </c:pt>
                <c:pt idx="4">
                  <c:v>91.1</c:v>
                </c:pt>
                <c:pt idx="5">
                  <c:v>91.9</c:v>
                </c:pt>
                <c:pt idx="6">
                  <c:v>92.5</c:v>
                </c:pt>
                <c:pt idx="7">
                  <c:v>93.1</c:v>
                </c:pt>
                <c:pt idx="8">
                  <c:v>93.3</c:v>
                </c:pt>
                <c:pt idx="9">
                  <c:v>93.5</c:v>
                </c:pt>
                <c:pt idx="10">
                  <c:v>93.5</c:v>
                </c:pt>
                <c:pt idx="11">
                  <c:v>93.5</c:v>
                </c:pt>
                <c:pt idx="12">
                  <c:v>93.6</c:v>
                </c:pt>
                <c:pt idx="13">
                  <c:v>93.8</c:v>
                </c:pt>
                <c:pt idx="14">
                  <c:v>93.9</c:v>
                </c:pt>
                <c:pt idx="15">
                  <c:v>94.1</c:v>
                </c:pt>
                <c:pt idx="16">
                  <c:v>94.1</c:v>
                </c:pt>
                <c:pt idx="17">
                  <c:v>94.2</c:v>
                </c:pt>
                <c:pt idx="18">
                  <c:v>94.3</c:v>
                </c:pt>
                <c:pt idx="19">
                  <c:v>94.5</c:v>
                </c:pt>
                <c:pt idx="20">
                  <c:v>94.6</c:v>
                </c:pt>
                <c:pt idx="21">
                  <c:v>94.7</c:v>
                </c:pt>
                <c:pt idx="22">
                  <c:v>94.7</c:v>
                </c:pt>
                <c:pt idx="23">
                  <c:v>95.1</c:v>
                </c:pt>
                <c:pt idx="24">
                  <c:v>95.5</c:v>
                </c:pt>
                <c:pt idx="25">
                  <c:v>96.1</c:v>
                </c:pt>
                <c:pt idx="26">
                  <c:v>96.5</c:v>
                </c:pt>
                <c:pt idx="27">
                  <c:v>96.9</c:v>
                </c:pt>
                <c:pt idx="28">
                  <c:v>97.3</c:v>
                </c:pt>
                <c:pt idx="29">
                  <c:v>97.4</c:v>
                </c:pt>
                <c:pt idx="30">
                  <c:v>97.3</c:v>
                </c:pt>
                <c:pt idx="31">
                  <c:v>97.3</c:v>
                </c:pt>
                <c:pt idx="32">
                  <c:v>97.2</c:v>
                </c:pt>
                <c:pt idx="33">
                  <c:v>97.1</c:v>
                </c:pt>
              </c:numCache>
            </c:numRef>
          </c:val>
          <c:smooth val="1"/>
          <c:extLst>
            <c:ext xmlns:c16="http://schemas.microsoft.com/office/drawing/2014/chart" uri="{C3380CC4-5D6E-409C-BE32-E72D297353CC}">
              <c16:uniqueId val="{00000005-4409-420D-B561-D87B2B1C5408}"/>
            </c:ext>
          </c:extLst>
        </c:ser>
        <c:dLbls>
          <c:showLegendKey val="0"/>
          <c:showVal val="0"/>
          <c:showCatName val="0"/>
          <c:showSerName val="0"/>
          <c:showPercent val="0"/>
          <c:showBubbleSize val="0"/>
        </c:dLbls>
        <c:smooth val="0"/>
        <c:axId val="1005734319"/>
        <c:axId val="1741259807"/>
      </c:lineChart>
      <c:catAx>
        <c:axId val="1005734319"/>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41259807"/>
        <c:crosses val="autoZero"/>
        <c:auto val="1"/>
        <c:lblAlgn val="ctr"/>
        <c:lblOffset val="100"/>
        <c:noMultiLvlLbl val="0"/>
      </c:catAx>
      <c:valAx>
        <c:axId val="1741259807"/>
        <c:scaling>
          <c:orientation val="minMax"/>
          <c:max val="105"/>
          <c:min val="75"/>
        </c:scaling>
        <c:delete val="0"/>
        <c:axPos val="l"/>
        <c:majorGridlines>
          <c:spPr>
            <a:ln w="9525" cap="flat" cmpd="sng" algn="ctr">
              <a:solidFill>
                <a:schemeClr val="tx1">
                  <a:lumMod val="15000"/>
                  <a:lumOff val="85000"/>
                </a:schemeClr>
              </a:solidFill>
              <a:round/>
            </a:ln>
            <a:effectLst/>
          </c:spPr>
        </c:majorGridlines>
        <c:numFmt formatCode="_(* #,##0.0_);_(* \(#,##0.0\);_(* &quot;-&quot;??_);_(@_)" sourceLinked="1"/>
        <c:majorTickMark val="none"/>
        <c:minorTickMark val="none"/>
        <c:tickLblPos val="nextTo"/>
        <c:spPr>
          <a:noFill/>
          <a:ln w="12700">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05734319"/>
        <c:crosses val="autoZero"/>
        <c:crossBetween val="midCat"/>
      </c:valAx>
      <c:spPr>
        <a:noFill/>
        <a:ln>
          <a:noFill/>
        </a:ln>
        <a:effectLst/>
      </c:spPr>
    </c:plotArea>
    <c:legend>
      <c:legendPos val="r"/>
      <c:layout>
        <c:manualLayout>
          <c:xMode val="edge"/>
          <c:yMode val="edge"/>
          <c:x val="0.82980873804133803"/>
          <c:y val="1.1781176479085076E-2"/>
          <c:w val="0.16864646271991951"/>
          <c:h val="0.441106530959358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Hires</c:v>
                </c:pt>
              </c:strCache>
            </c:strRef>
          </c:tx>
          <c:spPr>
            <a:ln w="28575" cap="rnd">
              <a:solidFill>
                <a:schemeClr val="accent1"/>
              </a:solidFill>
              <a:round/>
            </a:ln>
            <a:effectLst/>
          </c:spPr>
          <c:marker>
            <c:symbol val="none"/>
          </c:marker>
          <c:cat>
            <c:strRef>
              <c:f>Sheet1!$A$2:$A$34</c:f>
              <c:strCache>
                <c:ptCount val="33"/>
                <c:pt idx="0">
                  <c:v>Feb</c:v>
                </c:pt>
                <c:pt idx="1">
                  <c:v>Mar</c:v>
                </c:pt>
                <c:pt idx="2">
                  <c:v>Apr</c:v>
                </c:pt>
                <c:pt idx="3">
                  <c:v>May</c:v>
                </c:pt>
                <c:pt idx="4">
                  <c:v>Jun</c:v>
                </c:pt>
                <c:pt idx="5">
                  <c:v>Jul</c:v>
                </c:pt>
                <c:pt idx="6">
                  <c:v>Aug</c:v>
                </c:pt>
                <c:pt idx="7">
                  <c:v>Sep</c:v>
                </c:pt>
                <c:pt idx="8">
                  <c:v>Oct</c:v>
                </c:pt>
                <c:pt idx="9">
                  <c:v>Nov</c:v>
                </c:pt>
                <c:pt idx="10">
                  <c:v>Dec</c:v>
                </c:pt>
                <c:pt idx="11">
                  <c:v>Jan</c:v>
                </c:pt>
                <c:pt idx="12">
                  <c:v>Feb</c:v>
                </c:pt>
                <c:pt idx="13">
                  <c:v>Mar</c:v>
                </c:pt>
                <c:pt idx="14">
                  <c:v>Apr</c:v>
                </c:pt>
                <c:pt idx="15">
                  <c:v>May</c:v>
                </c:pt>
                <c:pt idx="16">
                  <c:v>Jun</c:v>
                </c:pt>
                <c:pt idx="17">
                  <c:v>Jul</c:v>
                </c:pt>
                <c:pt idx="18">
                  <c:v>Aug</c:v>
                </c:pt>
                <c:pt idx="19">
                  <c:v>Sep</c:v>
                </c:pt>
                <c:pt idx="20">
                  <c:v>Oct</c:v>
                </c:pt>
                <c:pt idx="21">
                  <c:v>Nov</c:v>
                </c:pt>
                <c:pt idx="22">
                  <c:v>Dec</c:v>
                </c:pt>
                <c:pt idx="23">
                  <c:v>Jan</c:v>
                </c:pt>
                <c:pt idx="24">
                  <c:v>Feb</c:v>
                </c:pt>
                <c:pt idx="25">
                  <c:v>Mar</c:v>
                </c:pt>
                <c:pt idx="26">
                  <c:v>Apr</c:v>
                </c:pt>
                <c:pt idx="27">
                  <c:v>May</c:v>
                </c:pt>
                <c:pt idx="28">
                  <c:v>Jun</c:v>
                </c:pt>
                <c:pt idx="29">
                  <c:v>Jul</c:v>
                </c:pt>
                <c:pt idx="30">
                  <c:v>Aug</c:v>
                </c:pt>
                <c:pt idx="31">
                  <c:v>Sep</c:v>
                </c:pt>
                <c:pt idx="32">
                  <c:v>Oct</c:v>
                </c:pt>
              </c:strCache>
            </c:strRef>
          </c:cat>
          <c:val>
            <c:numRef>
              <c:f>Sheet1!$B$2:$B$34</c:f>
              <c:numCache>
                <c:formatCode>General</c:formatCode>
                <c:ptCount val="33"/>
                <c:pt idx="0">
                  <c:v>146</c:v>
                </c:pt>
                <c:pt idx="1">
                  <c:v>128</c:v>
                </c:pt>
                <c:pt idx="2">
                  <c:v>79</c:v>
                </c:pt>
                <c:pt idx="3">
                  <c:v>120</c:v>
                </c:pt>
                <c:pt idx="4">
                  <c:v>266</c:v>
                </c:pt>
                <c:pt idx="5">
                  <c:v>148</c:v>
                </c:pt>
                <c:pt idx="6">
                  <c:v>170</c:v>
                </c:pt>
                <c:pt idx="7">
                  <c:v>156</c:v>
                </c:pt>
                <c:pt idx="8">
                  <c:v>172</c:v>
                </c:pt>
                <c:pt idx="9">
                  <c:v>190</c:v>
                </c:pt>
                <c:pt idx="10">
                  <c:v>168</c:v>
                </c:pt>
                <c:pt idx="11">
                  <c:v>162</c:v>
                </c:pt>
                <c:pt idx="12">
                  <c:v>175</c:v>
                </c:pt>
                <c:pt idx="13">
                  <c:v>167</c:v>
                </c:pt>
                <c:pt idx="14">
                  <c:v>160</c:v>
                </c:pt>
                <c:pt idx="15">
                  <c:v>161</c:v>
                </c:pt>
                <c:pt idx="16">
                  <c:v>168</c:v>
                </c:pt>
                <c:pt idx="17">
                  <c:v>160</c:v>
                </c:pt>
                <c:pt idx="18">
                  <c:v>172</c:v>
                </c:pt>
                <c:pt idx="19">
                  <c:v>192</c:v>
                </c:pt>
                <c:pt idx="20">
                  <c:v>160</c:v>
                </c:pt>
                <c:pt idx="21">
                  <c:v>158</c:v>
                </c:pt>
                <c:pt idx="22">
                  <c:v>180</c:v>
                </c:pt>
                <c:pt idx="23">
                  <c:v>169</c:v>
                </c:pt>
                <c:pt idx="24">
                  <c:v>194</c:v>
                </c:pt>
                <c:pt idx="25">
                  <c:v>197</c:v>
                </c:pt>
                <c:pt idx="26">
                  <c:v>190</c:v>
                </c:pt>
                <c:pt idx="27">
                  <c:v>170</c:v>
                </c:pt>
                <c:pt idx="28">
                  <c:v>169</c:v>
                </c:pt>
                <c:pt idx="29">
                  <c:v>185</c:v>
                </c:pt>
                <c:pt idx="30">
                  <c:v>162</c:v>
                </c:pt>
                <c:pt idx="31">
                  <c:v>173</c:v>
                </c:pt>
                <c:pt idx="32">
                  <c:v>158</c:v>
                </c:pt>
              </c:numCache>
            </c:numRef>
          </c:val>
          <c:smooth val="1"/>
          <c:extLst>
            <c:ext xmlns:c16="http://schemas.microsoft.com/office/drawing/2014/chart" uri="{C3380CC4-5D6E-409C-BE32-E72D297353CC}">
              <c16:uniqueId val="{00000000-62C5-4718-8A20-2579056567D7}"/>
            </c:ext>
          </c:extLst>
        </c:ser>
        <c:ser>
          <c:idx val="1"/>
          <c:order val="1"/>
          <c:tx>
            <c:strRef>
              <c:f>Sheet1!$C$1</c:f>
              <c:strCache>
                <c:ptCount val="1"/>
                <c:pt idx="0">
                  <c:v>Openings</c:v>
                </c:pt>
              </c:strCache>
            </c:strRef>
          </c:tx>
          <c:spPr>
            <a:ln w="28575" cap="rnd">
              <a:solidFill>
                <a:schemeClr val="accent2"/>
              </a:solidFill>
              <a:round/>
            </a:ln>
            <a:effectLst/>
          </c:spPr>
          <c:marker>
            <c:symbol val="none"/>
          </c:marker>
          <c:cat>
            <c:strRef>
              <c:f>Sheet1!$A$2:$A$34</c:f>
              <c:strCache>
                <c:ptCount val="33"/>
                <c:pt idx="0">
                  <c:v>Feb</c:v>
                </c:pt>
                <c:pt idx="1">
                  <c:v>Mar</c:v>
                </c:pt>
                <c:pt idx="2">
                  <c:v>Apr</c:v>
                </c:pt>
                <c:pt idx="3">
                  <c:v>May</c:v>
                </c:pt>
                <c:pt idx="4">
                  <c:v>Jun</c:v>
                </c:pt>
                <c:pt idx="5">
                  <c:v>Jul</c:v>
                </c:pt>
                <c:pt idx="6">
                  <c:v>Aug</c:v>
                </c:pt>
                <c:pt idx="7">
                  <c:v>Sep</c:v>
                </c:pt>
                <c:pt idx="8">
                  <c:v>Oct</c:v>
                </c:pt>
                <c:pt idx="9">
                  <c:v>Nov</c:v>
                </c:pt>
                <c:pt idx="10">
                  <c:v>Dec</c:v>
                </c:pt>
                <c:pt idx="11">
                  <c:v>Jan</c:v>
                </c:pt>
                <c:pt idx="12">
                  <c:v>Feb</c:v>
                </c:pt>
                <c:pt idx="13">
                  <c:v>Mar</c:v>
                </c:pt>
                <c:pt idx="14">
                  <c:v>Apr</c:v>
                </c:pt>
                <c:pt idx="15">
                  <c:v>May</c:v>
                </c:pt>
                <c:pt idx="16">
                  <c:v>Jun</c:v>
                </c:pt>
                <c:pt idx="17">
                  <c:v>Jul</c:v>
                </c:pt>
                <c:pt idx="18">
                  <c:v>Aug</c:v>
                </c:pt>
                <c:pt idx="19">
                  <c:v>Sep</c:v>
                </c:pt>
                <c:pt idx="20">
                  <c:v>Oct</c:v>
                </c:pt>
                <c:pt idx="21">
                  <c:v>Nov</c:v>
                </c:pt>
                <c:pt idx="22">
                  <c:v>Dec</c:v>
                </c:pt>
                <c:pt idx="23">
                  <c:v>Jan</c:v>
                </c:pt>
                <c:pt idx="24">
                  <c:v>Feb</c:v>
                </c:pt>
                <c:pt idx="25">
                  <c:v>Mar</c:v>
                </c:pt>
                <c:pt idx="26">
                  <c:v>Apr</c:v>
                </c:pt>
                <c:pt idx="27">
                  <c:v>May</c:v>
                </c:pt>
                <c:pt idx="28">
                  <c:v>Jun</c:v>
                </c:pt>
                <c:pt idx="29">
                  <c:v>Jul</c:v>
                </c:pt>
                <c:pt idx="30">
                  <c:v>Aug</c:v>
                </c:pt>
                <c:pt idx="31">
                  <c:v>Sep</c:v>
                </c:pt>
                <c:pt idx="32">
                  <c:v>Oct</c:v>
                </c:pt>
              </c:strCache>
            </c:strRef>
          </c:cat>
          <c:val>
            <c:numRef>
              <c:f>Sheet1!$C$2:$C$34</c:f>
              <c:numCache>
                <c:formatCode>General</c:formatCode>
                <c:ptCount val="33"/>
                <c:pt idx="0">
                  <c:v>216</c:v>
                </c:pt>
                <c:pt idx="1">
                  <c:v>215</c:v>
                </c:pt>
                <c:pt idx="2">
                  <c:v>157</c:v>
                </c:pt>
                <c:pt idx="3">
                  <c:v>156</c:v>
                </c:pt>
                <c:pt idx="4">
                  <c:v>194</c:v>
                </c:pt>
                <c:pt idx="5">
                  <c:v>196</c:v>
                </c:pt>
                <c:pt idx="6">
                  <c:v>210</c:v>
                </c:pt>
                <c:pt idx="7">
                  <c:v>187</c:v>
                </c:pt>
                <c:pt idx="8">
                  <c:v>211</c:v>
                </c:pt>
                <c:pt idx="9">
                  <c:v>207</c:v>
                </c:pt>
                <c:pt idx="10">
                  <c:v>220</c:v>
                </c:pt>
                <c:pt idx="11">
                  <c:v>212</c:v>
                </c:pt>
                <c:pt idx="12">
                  <c:v>260</c:v>
                </c:pt>
                <c:pt idx="13">
                  <c:v>240</c:v>
                </c:pt>
                <c:pt idx="14">
                  <c:v>264</c:v>
                </c:pt>
                <c:pt idx="15">
                  <c:v>267</c:v>
                </c:pt>
                <c:pt idx="16">
                  <c:v>268</c:v>
                </c:pt>
                <c:pt idx="17">
                  <c:v>300</c:v>
                </c:pt>
                <c:pt idx="18">
                  <c:v>293</c:v>
                </c:pt>
                <c:pt idx="19">
                  <c:v>345</c:v>
                </c:pt>
                <c:pt idx="20">
                  <c:v>283</c:v>
                </c:pt>
                <c:pt idx="21">
                  <c:v>301</c:v>
                </c:pt>
                <c:pt idx="22">
                  <c:v>303</c:v>
                </c:pt>
                <c:pt idx="23">
                  <c:v>310</c:v>
                </c:pt>
                <c:pt idx="24">
                  <c:v>305</c:v>
                </c:pt>
                <c:pt idx="25">
                  <c:v>340</c:v>
                </c:pt>
                <c:pt idx="26">
                  <c:v>316</c:v>
                </c:pt>
                <c:pt idx="27">
                  <c:v>312</c:v>
                </c:pt>
                <c:pt idx="28">
                  <c:v>330</c:v>
                </c:pt>
                <c:pt idx="29">
                  <c:v>339</c:v>
                </c:pt>
                <c:pt idx="30">
                  <c:v>317</c:v>
                </c:pt>
                <c:pt idx="31">
                  <c:v>351</c:v>
                </c:pt>
                <c:pt idx="32">
                  <c:v>330</c:v>
                </c:pt>
              </c:numCache>
            </c:numRef>
          </c:val>
          <c:smooth val="1"/>
          <c:extLst>
            <c:ext xmlns:c16="http://schemas.microsoft.com/office/drawing/2014/chart" uri="{C3380CC4-5D6E-409C-BE32-E72D297353CC}">
              <c16:uniqueId val="{00000001-62C5-4718-8A20-2579056567D7}"/>
            </c:ext>
          </c:extLst>
        </c:ser>
        <c:ser>
          <c:idx val="2"/>
          <c:order val="2"/>
          <c:tx>
            <c:strRef>
              <c:f>Sheet1!$D$1</c:f>
              <c:strCache>
                <c:ptCount val="1"/>
                <c:pt idx="0">
                  <c:v>Separations</c:v>
                </c:pt>
              </c:strCache>
            </c:strRef>
          </c:tx>
          <c:spPr>
            <a:ln w="28575" cap="rnd">
              <a:solidFill>
                <a:schemeClr val="accent3"/>
              </a:solidFill>
              <a:round/>
            </a:ln>
            <a:effectLst/>
          </c:spPr>
          <c:marker>
            <c:symbol val="none"/>
          </c:marker>
          <c:cat>
            <c:strRef>
              <c:f>Sheet1!$A$2:$A$34</c:f>
              <c:strCache>
                <c:ptCount val="33"/>
                <c:pt idx="0">
                  <c:v>Feb</c:v>
                </c:pt>
                <c:pt idx="1">
                  <c:v>Mar</c:v>
                </c:pt>
                <c:pt idx="2">
                  <c:v>Apr</c:v>
                </c:pt>
                <c:pt idx="3">
                  <c:v>May</c:v>
                </c:pt>
                <c:pt idx="4">
                  <c:v>Jun</c:v>
                </c:pt>
                <c:pt idx="5">
                  <c:v>Jul</c:v>
                </c:pt>
                <c:pt idx="6">
                  <c:v>Aug</c:v>
                </c:pt>
                <c:pt idx="7">
                  <c:v>Sep</c:v>
                </c:pt>
                <c:pt idx="8">
                  <c:v>Oct</c:v>
                </c:pt>
                <c:pt idx="9">
                  <c:v>Nov</c:v>
                </c:pt>
                <c:pt idx="10">
                  <c:v>Dec</c:v>
                </c:pt>
                <c:pt idx="11">
                  <c:v>Jan</c:v>
                </c:pt>
                <c:pt idx="12">
                  <c:v>Feb</c:v>
                </c:pt>
                <c:pt idx="13">
                  <c:v>Mar</c:v>
                </c:pt>
                <c:pt idx="14">
                  <c:v>Apr</c:v>
                </c:pt>
                <c:pt idx="15">
                  <c:v>May</c:v>
                </c:pt>
                <c:pt idx="16">
                  <c:v>Jun</c:v>
                </c:pt>
                <c:pt idx="17">
                  <c:v>Jul</c:v>
                </c:pt>
                <c:pt idx="18">
                  <c:v>Aug</c:v>
                </c:pt>
                <c:pt idx="19">
                  <c:v>Sep</c:v>
                </c:pt>
                <c:pt idx="20">
                  <c:v>Oct</c:v>
                </c:pt>
                <c:pt idx="21">
                  <c:v>Nov</c:v>
                </c:pt>
                <c:pt idx="22">
                  <c:v>Dec</c:v>
                </c:pt>
                <c:pt idx="23">
                  <c:v>Jan</c:v>
                </c:pt>
                <c:pt idx="24">
                  <c:v>Feb</c:v>
                </c:pt>
                <c:pt idx="25">
                  <c:v>Mar</c:v>
                </c:pt>
                <c:pt idx="26">
                  <c:v>Apr</c:v>
                </c:pt>
                <c:pt idx="27">
                  <c:v>May</c:v>
                </c:pt>
                <c:pt idx="28">
                  <c:v>Jun</c:v>
                </c:pt>
                <c:pt idx="29">
                  <c:v>Jul</c:v>
                </c:pt>
                <c:pt idx="30">
                  <c:v>Aug</c:v>
                </c:pt>
                <c:pt idx="31">
                  <c:v>Sep</c:v>
                </c:pt>
                <c:pt idx="32">
                  <c:v>Oct</c:v>
                </c:pt>
              </c:strCache>
            </c:strRef>
          </c:cat>
          <c:val>
            <c:numRef>
              <c:f>Sheet1!$D$2:$D$34</c:f>
              <c:numCache>
                <c:formatCode>General</c:formatCode>
                <c:ptCount val="33"/>
                <c:pt idx="0">
                  <c:v>127</c:v>
                </c:pt>
                <c:pt idx="1">
                  <c:v>374</c:v>
                </c:pt>
                <c:pt idx="2">
                  <c:v>246</c:v>
                </c:pt>
                <c:pt idx="3">
                  <c:v>138</c:v>
                </c:pt>
                <c:pt idx="4">
                  <c:v>120</c:v>
                </c:pt>
                <c:pt idx="5">
                  <c:v>127</c:v>
                </c:pt>
                <c:pt idx="6">
                  <c:v>110</c:v>
                </c:pt>
                <c:pt idx="7">
                  <c:v>116</c:v>
                </c:pt>
                <c:pt idx="8">
                  <c:v>162</c:v>
                </c:pt>
                <c:pt idx="9">
                  <c:v>154</c:v>
                </c:pt>
                <c:pt idx="10">
                  <c:v>128</c:v>
                </c:pt>
                <c:pt idx="11">
                  <c:v>126</c:v>
                </c:pt>
                <c:pt idx="12">
                  <c:v>134</c:v>
                </c:pt>
                <c:pt idx="13">
                  <c:v>147</c:v>
                </c:pt>
                <c:pt idx="14">
                  <c:v>158</c:v>
                </c:pt>
                <c:pt idx="15">
                  <c:v>159</c:v>
                </c:pt>
                <c:pt idx="16">
                  <c:v>163</c:v>
                </c:pt>
                <c:pt idx="17">
                  <c:v>145</c:v>
                </c:pt>
                <c:pt idx="18">
                  <c:v>153</c:v>
                </c:pt>
                <c:pt idx="19">
                  <c:v>148</c:v>
                </c:pt>
                <c:pt idx="20">
                  <c:v>141</c:v>
                </c:pt>
                <c:pt idx="21">
                  <c:v>136</c:v>
                </c:pt>
                <c:pt idx="22">
                  <c:v>180</c:v>
                </c:pt>
                <c:pt idx="23">
                  <c:v>162</c:v>
                </c:pt>
                <c:pt idx="24">
                  <c:v>142</c:v>
                </c:pt>
                <c:pt idx="25">
                  <c:v>160</c:v>
                </c:pt>
                <c:pt idx="26">
                  <c:v>181</c:v>
                </c:pt>
                <c:pt idx="27">
                  <c:v>158</c:v>
                </c:pt>
                <c:pt idx="28">
                  <c:v>152</c:v>
                </c:pt>
                <c:pt idx="29">
                  <c:v>160</c:v>
                </c:pt>
                <c:pt idx="30">
                  <c:v>146</c:v>
                </c:pt>
                <c:pt idx="31">
                  <c:v>146</c:v>
                </c:pt>
                <c:pt idx="32">
                  <c:v>162</c:v>
                </c:pt>
              </c:numCache>
            </c:numRef>
          </c:val>
          <c:smooth val="1"/>
          <c:extLst>
            <c:ext xmlns:c16="http://schemas.microsoft.com/office/drawing/2014/chart" uri="{C3380CC4-5D6E-409C-BE32-E72D297353CC}">
              <c16:uniqueId val="{00000002-62C5-4718-8A20-2579056567D7}"/>
            </c:ext>
          </c:extLst>
        </c:ser>
        <c:dLbls>
          <c:showLegendKey val="0"/>
          <c:showVal val="0"/>
          <c:showCatName val="0"/>
          <c:showSerName val="0"/>
          <c:showPercent val="0"/>
          <c:showBubbleSize val="0"/>
        </c:dLbls>
        <c:smooth val="0"/>
        <c:axId val="1214935232"/>
        <c:axId val="1214943968"/>
      </c:lineChart>
      <c:dateAx>
        <c:axId val="1214935232"/>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1214943968"/>
        <c:crosses val="autoZero"/>
        <c:auto val="0"/>
        <c:lblOffset val="100"/>
        <c:baseTimeUnit val="days"/>
      </c:dateAx>
      <c:valAx>
        <c:axId val="1214943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14935232"/>
        <c:crosses val="autoZero"/>
        <c:crossBetween val="between"/>
      </c:valAx>
      <c:spPr>
        <a:noFill/>
        <a:ln>
          <a:noFill/>
        </a:ln>
        <a:effectLst/>
      </c:spPr>
    </c:plotArea>
    <c:legend>
      <c:legendPos val="t"/>
      <c:layout>
        <c:manualLayout>
          <c:xMode val="edge"/>
          <c:yMode val="edge"/>
          <c:x val="1.1418530505772862E-3"/>
          <c:y val="0"/>
          <c:w val="0.39648917926670207"/>
          <c:h val="5.525161644449019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Virginia</c:v>
                </c:pt>
              </c:strCache>
            </c:strRef>
          </c:tx>
          <c:spPr>
            <a:ln w="28575" cap="rnd">
              <a:solidFill>
                <a:schemeClr val="accent1"/>
              </a:solidFill>
              <a:round/>
            </a:ln>
            <a:effectLst/>
          </c:spPr>
          <c:marker>
            <c:symbol val="none"/>
          </c:marker>
          <c:cat>
            <c:numRef>
              <c:f>Sheet1!$A$2:$A$10</c:f>
              <c:numCache>
                <c:formatCode>General</c:formatCode>
                <c:ptCount val="9"/>
                <c:pt idx="0">
                  <c:v>2013</c:v>
                </c:pt>
                <c:pt idx="1">
                  <c:v>2014</c:v>
                </c:pt>
                <c:pt idx="2">
                  <c:v>2015</c:v>
                </c:pt>
                <c:pt idx="3">
                  <c:v>2016</c:v>
                </c:pt>
                <c:pt idx="4">
                  <c:v>2017</c:v>
                </c:pt>
                <c:pt idx="5">
                  <c:v>2018</c:v>
                </c:pt>
                <c:pt idx="6">
                  <c:v>2019</c:v>
                </c:pt>
                <c:pt idx="7">
                  <c:v>2020</c:v>
                </c:pt>
                <c:pt idx="8">
                  <c:v>2021</c:v>
                </c:pt>
              </c:numCache>
            </c:numRef>
          </c:cat>
          <c:val>
            <c:numRef>
              <c:f>Sheet1!$B$2:$B$10</c:f>
              <c:numCache>
                <c:formatCode>#,##0</c:formatCode>
                <c:ptCount val="9"/>
                <c:pt idx="0">
                  <c:v>3111</c:v>
                </c:pt>
                <c:pt idx="1">
                  <c:v>-16114</c:v>
                </c:pt>
                <c:pt idx="2">
                  <c:v>-25347</c:v>
                </c:pt>
                <c:pt idx="3">
                  <c:v>-25020</c:v>
                </c:pt>
                <c:pt idx="4">
                  <c:v>-12510</c:v>
                </c:pt>
                <c:pt idx="5">
                  <c:v>-9321</c:v>
                </c:pt>
                <c:pt idx="6">
                  <c:v>-8892</c:v>
                </c:pt>
                <c:pt idx="7">
                  <c:v>-9130</c:v>
                </c:pt>
                <c:pt idx="8">
                  <c:v>-8995</c:v>
                </c:pt>
              </c:numCache>
            </c:numRef>
          </c:val>
          <c:smooth val="1"/>
          <c:extLst>
            <c:ext xmlns:c16="http://schemas.microsoft.com/office/drawing/2014/chart" uri="{C3380CC4-5D6E-409C-BE32-E72D297353CC}">
              <c16:uniqueId val="{00000000-04D7-4010-AE49-FAC884C2A3CE}"/>
            </c:ext>
          </c:extLst>
        </c:ser>
        <c:dLbls>
          <c:showLegendKey val="0"/>
          <c:showVal val="0"/>
          <c:showCatName val="0"/>
          <c:showSerName val="0"/>
          <c:showPercent val="0"/>
          <c:showBubbleSize val="0"/>
        </c:dLbls>
        <c:smooth val="0"/>
        <c:axId val="1005734319"/>
        <c:axId val="1741259807"/>
      </c:lineChart>
      <c:catAx>
        <c:axId val="1005734319"/>
        <c:scaling>
          <c:orientation val="minMax"/>
        </c:scaling>
        <c:delete val="0"/>
        <c:axPos val="b"/>
        <c:numFmt formatCode="General" sourceLinked="1"/>
        <c:majorTickMark val="none"/>
        <c:minorTickMark val="none"/>
        <c:tickLblPos val="low"/>
        <c:spPr>
          <a:noFill/>
          <a:ln w="12700" cap="flat" cmpd="sng" algn="ctr">
            <a:solidFill>
              <a:schemeClr val="tx1"/>
            </a:solidFill>
            <a:round/>
          </a:ln>
          <a:effectLst/>
        </c:spPr>
        <c:txPr>
          <a:bodyPr rot="0" spcFirstLastPara="1" vertOverflow="ellipsis"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41259807"/>
        <c:crosses val="autoZero"/>
        <c:auto val="1"/>
        <c:lblAlgn val="ctr"/>
        <c:lblOffset val="100"/>
        <c:noMultiLvlLbl val="0"/>
      </c:catAx>
      <c:valAx>
        <c:axId val="1741259807"/>
        <c:scaling>
          <c:orientation val="minMax"/>
          <c:max val="10000"/>
          <c:min val="-3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12700">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057343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2DF9EA-426B-41F4-ABEE-7916859588C1}" type="doc">
      <dgm:prSet loTypeId="urn:microsoft.com/office/officeart/2005/8/layout/process1" loCatId="process" qsTypeId="urn:microsoft.com/office/officeart/2005/8/quickstyle/simple1" qsCatId="simple" csTypeId="urn:microsoft.com/office/officeart/2005/8/colors/accent1_2" csCatId="accent1" phldr="1"/>
      <dgm:spPr/>
    </dgm:pt>
    <dgm:pt modelId="{E3D5CD39-5DA2-4A85-B81F-DA9C035364AC}">
      <dgm:prSet phldrT="[Text]" custT="1"/>
      <dgm:spPr/>
      <dgm:t>
        <a:bodyPr/>
        <a:lstStyle/>
        <a:p>
          <a:pPr>
            <a:lnSpc>
              <a:spcPct val="100000"/>
            </a:lnSpc>
            <a:spcAft>
              <a:spcPts val="0"/>
            </a:spcAft>
          </a:pPr>
          <a:r>
            <a:rPr lang="en-US" sz="2000" b="1" i="0" kern="1200" dirty="0">
              <a:latin typeface="Verlag Bold" pitchFamily="2" charset="0"/>
            </a:rPr>
            <a:t>Leverage Strategic Assets</a:t>
          </a:r>
          <a:endParaRPr lang="en-US" sz="2000" kern="1200" dirty="0">
            <a:latin typeface="Verlag Bold" pitchFamily="2" charset="0"/>
          </a:endParaRPr>
        </a:p>
      </dgm:t>
    </dgm:pt>
    <dgm:pt modelId="{2EAB54BE-E9FA-4B47-8511-30CDFC20CD90}" type="parTrans" cxnId="{04635CF3-AA30-466A-9312-0F5AE12239B2}">
      <dgm:prSet/>
      <dgm:spPr/>
      <dgm:t>
        <a:bodyPr/>
        <a:lstStyle/>
        <a:p>
          <a:endParaRPr lang="en-US"/>
        </a:p>
      </dgm:t>
    </dgm:pt>
    <dgm:pt modelId="{F1BD592C-3F00-4D88-9EDA-2A47FB6E51BD}" type="sibTrans" cxnId="{04635CF3-AA30-466A-9312-0F5AE12239B2}">
      <dgm:prSet/>
      <dgm:spPr>
        <a:solidFill>
          <a:srgbClr val="C00000"/>
        </a:solidFill>
      </dgm:spPr>
      <dgm:t>
        <a:bodyPr/>
        <a:lstStyle/>
        <a:p>
          <a:endParaRPr lang="en-US" dirty="0"/>
        </a:p>
      </dgm:t>
    </dgm:pt>
    <dgm:pt modelId="{3AC0B783-9CBE-4D3A-8A45-01F6F98FCE72}">
      <dgm:prSet phldrT="[Text]" custT="1"/>
      <dgm:spPr/>
      <dgm:t>
        <a:bodyPr/>
        <a:lstStyle/>
        <a:p>
          <a:pPr>
            <a:lnSpc>
              <a:spcPct val="100000"/>
            </a:lnSpc>
            <a:spcAft>
              <a:spcPts val="0"/>
            </a:spcAft>
          </a:pPr>
          <a:r>
            <a:rPr lang="en-US" sz="2200" b="1" dirty="0">
              <a:latin typeface="Verlag Bold" pitchFamily="2" charset="0"/>
            </a:rPr>
            <a:t>Build a Customized Ecosystem</a:t>
          </a:r>
        </a:p>
      </dgm:t>
    </dgm:pt>
    <dgm:pt modelId="{F66B3D41-16EF-4AEE-BD30-C0FBA74001D1}" type="parTrans" cxnId="{0FF8F934-A3D9-4138-9798-EECF96CE5C2E}">
      <dgm:prSet/>
      <dgm:spPr/>
      <dgm:t>
        <a:bodyPr/>
        <a:lstStyle/>
        <a:p>
          <a:endParaRPr lang="en-US"/>
        </a:p>
      </dgm:t>
    </dgm:pt>
    <dgm:pt modelId="{FDCCCA98-6269-47E2-9A1F-0F76AFA25909}" type="sibTrans" cxnId="{0FF8F934-A3D9-4138-9798-EECF96CE5C2E}">
      <dgm:prSet/>
      <dgm:spPr>
        <a:solidFill>
          <a:srgbClr val="C00000"/>
        </a:solidFill>
      </dgm:spPr>
      <dgm:t>
        <a:bodyPr/>
        <a:lstStyle/>
        <a:p>
          <a:endParaRPr lang="en-US" dirty="0"/>
        </a:p>
      </dgm:t>
    </dgm:pt>
    <dgm:pt modelId="{50A45370-A52B-458E-A14B-1E5D137D95CD}">
      <dgm:prSet phldrT="[Text]" custT="1"/>
      <dgm:spPr>
        <a:ln>
          <a:noFill/>
        </a:ln>
      </dgm:spPr>
      <dgm:t>
        <a:bodyPr/>
        <a:lstStyle/>
        <a:p>
          <a:r>
            <a:rPr lang="en-US" sz="2200" b="1" dirty="0">
              <a:latin typeface="Verlag Bold" pitchFamily="2" charset="0"/>
            </a:rPr>
            <a:t>Execute &amp; Compete to Win</a:t>
          </a:r>
        </a:p>
      </dgm:t>
    </dgm:pt>
    <dgm:pt modelId="{67BACFE6-CA6F-42FA-9735-9412F9BD3B36}" type="parTrans" cxnId="{98F0059C-8B85-4D3F-9EB0-4FA849EA3993}">
      <dgm:prSet/>
      <dgm:spPr/>
      <dgm:t>
        <a:bodyPr/>
        <a:lstStyle/>
        <a:p>
          <a:endParaRPr lang="en-US"/>
        </a:p>
      </dgm:t>
    </dgm:pt>
    <dgm:pt modelId="{803DB8D0-4BA9-426F-8441-1F583C57519B}" type="sibTrans" cxnId="{98F0059C-8B85-4D3F-9EB0-4FA849EA3993}">
      <dgm:prSet/>
      <dgm:spPr/>
      <dgm:t>
        <a:bodyPr/>
        <a:lstStyle/>
        <a:p>
          <a:endParaRPr lang="en-US"/>
        </a:p>
      </dgm:t>
    </dgm:pt>
    <dgm:pt modelId="{818B3C3E-4C7B-4256-91FE-921705973E87}" type="pres">
      <dgm:prSet presAssocID="{BD2DF9EA-426B-41F4-ABEE-7916859588C1}" presName="Name0" presStyleCnt="0">
        <dgm:presLayoutVars>
          <dgm:dir/>
          <dgm:resizeHandles val="exact"/>
        </dgm:presLayoutVars>
      </dgm:prSet>
      <dgm:spPr/>
    </dgm:pt>
    <dgm:pt modelId="{B5E594A4-29FD-4BFF-A168-B4EEB6F04094}" type="pres">
      <dgm:prSet presAssocID="{E3D5CD39-5DA2-4A85-B81F-DA9C035364AC}" presName="node" presStyleLbl="node1" presStyleIdx="0" presStyleCnt="3" custLinFactNeighborY="-46637">
        <dgm:presLayoutVars>
          <dgm:bulletEnabled val="1"/>
        </dgm:presLayoutVars>
      </dgm:prSet>
      <dgm:spPr/>
    </dgm:pt>
    <dgm:pt modelId="{B4F19387-F665-4CDC-A3A3-1520E52CAA84}" type="pres">
      <dgm:prSet presAssocID="{F1BD592C-3F00-4D88-9EDA-2A47FB6E51BD}" presName="sibTrans" presStyleLbl="sibTrans2D1" presStyleIdx="0" presStyleCnt="2" custScaleX="60971" custScaleY="52120"/>
      <dgm:spPr/>
    </dgm:pt>
    <dgm:pt modelId="{BAA33A44-7018-4651-847B-31C465960C16}" type="pres">
      <dgm:prSet presAssocID="{F1BD592C-3F00-4D88-9EDA-2A47FB6E51BD}" presName="connectorText" presStyleLbl="sibTrans2D1" presStyleIdx="0" presStyleCnt="2"/>
      <dgm:spPr/>
    </dgm:pt>
    <dgm:pt modelId="{B3919CCC-464E-44C0-88F1-0BEF739BC805}" type="pres">
      <dgm:prSet presAssocID="{3AC0B783-9CBE-4D3A-8A45-01F6F98FCE72}" presName="node" presStyleLbl="node1" presStyleIdx="1" presStyleCnt="3" custLinFactNeighborY="-46637">
        <dgm:presLayoutVars>
          <dgm:bulletEnabled val="1"/>
        </dgm:presLayoutVars>
      </dgm:prSet>
      <dgm:spPr/>
    </dgm:pt>
    <dgm:pt modelId="{C31EBF2D-35EB-4384-9329-C830078FE55A}" type="pres">
      <dgm:prSet presAssocID="{FDCCCA98-6269-47E2-9A1F-0F76AFA25909}" presName="sibTrans" presStyleLbl="sibTrans2D1" presStyleIdx="1" presStyleCnt="2" custScaleX="60971" custScaleY="52120"/>
      <dgm:spPr/>
    </dgm:pt>
    <dgm:pt modelId="{B14EC234-CA32-423A-B4BD-5F0DFD949B2E}" type="pres">
      <dgm:prSet presAssocID="{FDCCCA98-6269-47E2-9A1F-0F76AFA25909}" presName="connectorText" presStyleLbl="sibTrans2D1" presStyleIdx="1" presStyleCnt="2"/>
      <dgm:spPr/>
    </dgm:pt>
    <dgm:pt modelId="{B421B138-09C4-41C8-9605-7EF026FBC7F2}" type="pres">
      <dgm:prSet presAssocID="{50A45370-A52B-458E-A14B-1E5D137D95CD}" presName="node" presStyleLbl="node1" presStyleIdx="2" presStyleCnt="3" custLinFactNeighborY="-46637">
        <dgm:presLayoutVars>
          <dgm:bulletEnabled val="1"/>
        </dgm:presLayoutVars>
      </dgm:prSet>
      <dgm:spPr/>
    </dgm:pt>
  </dgm:ptLst>
  <dgm:cxnLst>
    <dgm:cxn modelId="{0FF8F934-A3D9-4138-9798-EECF96CE5C2E}" srcId="{BD2DF9EA-426B-41F4-ABEE-7916859588C1}" destId="{3AC0B783-9CBE-4D3A-8A45-01F6F98FCE72}" srcOrd="1" destOrd="0" parTransId="{F66B3D41-16EF-4AEE-BD30-C0FBA74001D1}" sibTransId="{FDCCCA98-6269-47E2-9A1F-0F76AFA25909}"/>
    <dgm:cxn modelId="{BDC96B48-8227-41F8-BD18-6EA371451510}" type="presOf" srcId="{E3D5CD39-5DA2-4A85-B81F-DA9C035364AC}" destId="{B5E594A4-29FD-4BFF-A168-B4EEB6F04094}" srcOrd="0" destOrd="0" presId="urn:microsoft.com/office/officeart/2005/8/layout/process1"/>
    <dgm:cxn modelId="{77CA8E48-EA36-4DCA-BA99-04EF3C538537}" type="presOf" srcId="{FDCCCA98-6269-47E2-9A1F-0F76AFA25909}" destId="{C31EBF2D-35EB-4384-9329-C830078FE55A}" srcOrd="0" destOrd="0" presId="urn:microsoft.com/office/officeart/2005/8/layout/process1"/>
    <dgm:cxn modelId="{2A657173-2973-4B2F-A970-B3D7DC6F94AF}" type="presOf" srcId="{BD2DF9EA-426B-41F4-ABEE-7916859588C1}" destId="{818B3C3E-4C7B-4256-91FE-921705973E87}" srcOrd="0" destOrd="0" presId="urn:microsoft.com/office/officeart/2005/8/layout/process1"/>
    <dgm:cxn modelId="{769D1F8B-767D-44DC-87EC-AB8F5E2ECB49}" type="presOf" srcId="{3AC0B783-9CBE-4D3A-8A45-01F6F98FCE72}" destId="{B3919CCC-464E-44C0-88F1-0BEF739BC805}" srcOrd="0" destOrd="0" presId="urn:microsoft.com/office/officeart/2005/8/layout/process1"/>
    <dgm:cxn modelId="{98F0059C-8B85-4D3F-9EB0-4FA849EA3993}" srcId="{BD2DF9EA-426B-41F4-ABEE-7916859588C1}" destId="{50A45370-A52B-458E-A14B-1E5D137D95CD}" srcOrd="2" destOrd="0" parTransId="{67BACFE6-CA6F-42FA-9735-9412F9BD3B36}" sibTransId="{803DB8D0-4BA9-426F-8441-1F583C57519B}"/>
    <dgm:cxn modelId="{A30E6CB6-A915-4D83-AB24-17D4A89F639B}" type="presOf" srcId="{FDCCCA98-6269-47E2-9A1F-0F76AFA25909}" destId="{B14EC234-CA32-423A-B4BD-5F0DFD949B2E}" srcOrd="1" destOrd="0" presId="urn:microsoft.com/office/officeart/2005/8/layout/process1"/>
    <dgm:cxn modelId="{2A23E0E4-D988-46CA-A00F-AEBE522AF532}" type="presOf" srcId="{50A45370-A52B-458E-A14B-1E5D137D95CD}" destId="{B421B138-09C4-41C8-9605-7EF026FBC7F2}" srcOrd="0" destOrd="0" presId="urn:microsoft.com/office/officeart/2005/8/layout/process1"/>
    <dgm:cxn modelId="{D20974E6-3AEF-4FA7-ADF3-816C00A3909D}" type="presOf" srcId="{F1BD592C-3F00-4D88-9EDA-2A47FB6E51BD}" destId="{B4F19387-F665-4CDC-A3A3-1520E52CAA84}" srcOrd="0" destOrd="0" presId="urn:microsoft.com/office/officeart/2005/8/layout/process1"/>
    <dgm:cxn modelId="{E83FDFE6-2EC7-4BE2-A19A-9F5CA7A26736}" type="presOf" srcId="{F1BD592C-3F00-4D88-9EDA-2A47FB6E51BD}" destId="{BAA33A44-7018-4651-847B-31C465960C16}" srcOrd="1" destOrd="0" presId="urn:microsoft.com/office/officeart/2005/8/layout/process1"/>
    <dgm:cxn modelId="{04635CF3-AA30-466A-9312-0F5AE12239B2}" srcId="{BD2DF9EA-426B-41F4-ABEE-7916859588C1}" destId="{E3D5CD39-5DA2-4A85-B81F-DA9C035364AC}" srcOrd="0" destOrd="0" parTransId="{2EAB54BE-E9FA-4B47-8511-30CDFC20CD90}" sibTransId="{F1BD592C-3F00-4D88-9EDA-2A47FB6E51BD}"/>
    <dgm:cxn modelId="{6CA839E1-2E84-4609-9E4B-1A947D195799}" type="presParOf" srcId="{818B3C3E-4C7B-4256-91FE-921705973E87}" destId="{B5E594A4-29FD-4BFF-A168-B4EEB6F04094}" srcOrd="0" destOrd="0" presId="urn:microsoft.com/office/officeart/2005/8/layout/process1"/>
    <dgm:cxn modelId="{2FC5EE1F-584E-4069-B346-9D6CFC9A6A67}" type="presParOf" srcId="{818B3C3E-4C7B-4256-91FE-921705973E87}" destId="{B4F19387-F665-4CDC-A3A3-1520E52CAA84}" srcOrd="1" destOrd="0" presId="urn:microsoft.com/office/officeart/2005/8/layout/process1"/>
    <dgm:cxn modelId="{3F4803F6-5F13-4D94-B3EF-BDDDDF9F0B60}" type="presParOf" srcId="{B4F19387-F665-4CDC-A3A3-1520E52CAA84}" destId="{BAA33A44-7018-4651-847B-31C465960C16}" srcOrd="0" destOrd="0" presId="urn:microsoft.com/office/officeart/2005/8/layout/process1"/>
    <dgm:cxn modelId="{0E334D60-1A01-4722-808D-0995ABF22EA7}" type="presParOf" srcId="{818B3C3E-4C7B-4256-91FE-921705973E87}" destId="{B3919CCC-464E-44C0-88F1-0BEF739BC805}" srcOrd="2" destOrd="0" presId="urn:microsoft.com/office/officeart/2005/8/layout/process1"/>
    <dgm:cxn modelId="{3B4DDBE9-A708-4069-9E40-05315937A5A0}" type="presParOf" srcId="{818B3C3E-4C7B-4256-91FE-921705973E87}" destId="{C31EBF2D-35EB-4384-9329-C830078FE55A}" srcOrd="3" destOrd="0" presId="urn:microsoft.com/office/officeart/2005/8/layout/process1"/>
    <dgm:cxn modelId="{61915653-85ED-447A-BB81-E7D3804A949F}" type="presParOf" srcId="{C31EBF2D-35EB-4384-9329-C830078FE55A}" destId="{B14EC234-CA32-423A-B4BD-5F0DFD949B2E}" srcOrd="0" destOrd="0" presId="urn:microsoft.com/office/officeart/2005/8/layout/process1"/>
    <dgm:cxn modelId="{F729E7D4-C742-4395-BBAE-4AC6B26CFD44}" type="presParOf" srcId="{818B3C3E-4C7B-4256-91FE-921705973E87}" destId="{B421B138-09C4-41C8-9605-7EF026FBC7F2}"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594A4-29FD-4BFF-A168-B4EEB6F04094}">
      <dsp:nvSpPr>
        <dsp:cNvPr id="0" name=""/>
        <dsp:cNvSpPr/>
      </dsp:nvSpPr>
      <dsp:spPr>
        <a:xfrm>
          <a:off x="7100" y="0"/>
          <a:ext cx="2122255" cy="13136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100000"/>
            </a:lnSpc>
            <a:spcBef>
              <a:spcPct val="0"/>
            </a:spcBef>
            <a:spcAft>
              <a:spcPts val="0"/>
            </a:spcAft>
            <a:buNone/>
          </a:pPr>
          <a:r>
            <a:rPr lang="en-US" sz="2000" b="1" i="0" kern="1200" dirty="0">
              <a:latin typeface="Verlag Bold" pitchFamily="2" charset="0"/>
            </a:rPr>
            <a:t>Leverage Strategic Assets</a:t>
          </a:r>
          <a:endParaRPr lang="en-US" sz="2000" kern="1200" dirty="0">
            <a:latin typeface="Verlag Bold" pitchFamily="2" charset="0"/>
          </a:endParaRPr>
        </a:p>
      </dsp:txBody>
      <dsp:txXfrm>
        <a:off x="45576" y="38476"/>
        <a:ext cx="2045303" cy="1236713"/>
      </dsp:txXfrm>
    </dsp:sp>
    <dsp:sp modelId="{B4F19387-F665-4CDC-A3A3-1520E52CAA84}">
      <dsp:nvSpPr>
        <dsp:cNvPr id="0" name=""/>
        <dsp:cNvSpPr/>
      </dsp:nvSpPr>
      <dsp:spPr>
        <a:xfrm>
          <a:off x="2429380" y="519673"/>
          <a:ext cx="274319" cy="274317"/>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2429380" y="574536"/>
        <a:ext cx="192024" cy="164591"/>
      </dsp:txXfrm>
    </dsp:sp>
    <dsp:sp modelId="{B3919CCC-464E-44C0-88F1-0BEF739BC805}">
      <dsp:nvSpPr>
        <dsp:cNvPr id="0" name=""/>
        <dsp:cNvSpPr/>
      </dsp:nvSpPr>
      <dsp:spPr>
        <a:xfrm>
          <a:off x="2978257" y="0"/>
          <a:ext cx="2122255" cy="13136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100000"/>
            </a:lnSpc>
            <a:spcBef>
              <a:spcPct val="0"/>
            </a:spcBef>
            <a:spcAft>
              <a:spcPts val="0"/>
            </a:spcAft>
            <a:buNone/>
          </a:pPr>
          <a:r>
            <a:rPr lang="en-US" sz="2200" b="1" kern="1200" dirty="0">
              <a:latin typeface="Verlag Bold" pitchFamily="2" charset="0"/>
            </a:rPr>
            <a:t>Build a Customized Ecosystem</a:t>
          </a:r>
        </a:p>
      </dsp:txBody>
      <dsp:txXfrm>
        <a:off x="3016733" y="38476"/>
        <a:ext cx="2045303" cy="1236713"/>
      </dsp:txXfrm>
    </dsp:sp>
    <dsp:sp modelId="{C31EBF2D-35EB-4384-9329-C830078FE55A}">
      <dsp:nvSpPr>
        <dsp:cNvPr id="0" name=""/>
        <dsp:cNvSpPr/>
      </dsp:nvSpPr>
      <dsp:spPr>
        <a:xfrm>
          <a:off x="5400537" y="519673"/>
          <a:ext cx="274319" cy="274317"/>
        </a:xfrm>
        <a:prstGeom prst="rightArrow">
          <a:avLst>
            <a:gd name="adj1" fmla="val 60000"/>
            <a:gd name="adj2" fmla="val 50000"/>
          </a:avLst>
        </a:prstGeom>
        <a:solidFill>
          <a:srgbClr val="C0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400537" y="574536"/>
        <a:ext cx="192024" cy="164591"/>
      </dsp:txXfrm>
    </dsp:sp>
    <dsp:sp modelId="{B421B138-09C4-41C8-9605-7EF026FBC7F2}">
      <dsp:nvSpPr>
        <dsp:cNvPr id="0" name=""/>
        <dsp:cNvSpPr/>
      </dsp:nvSpPr>
      <dsp:spPr>
        <a:xfrm>
          <a:off x="5949415" y="0"/>
          <a:ext cx="2122255" cy="1313665"/>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dirty="0">
              <a:latin typeface="Verlag Bold" pitchFamily="2" charset="0"/>
            </a:rPr>
            <a:t>Execute &amp; Compete to Win</a:t>
          </a:r>
        </a:p>
      </dsp:txBody>
      <dsp:txXfrm>
        <a:off x="5987891" y="38476"/>
        <a:ext cx="2045303" cy="123671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12" tIns="46656" rIns="93312" bIns="46656"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12" tIns="46656" rIns="93312" bIns="46656" rtlCol="0"/>
          <a:lstStyle>
            <a:lvl1pPr algn="r">
              <a:defRPr sz="1200"/>
            </a:lvl1pPr>
          </a:lstStyle>
          <a:p>
            <a:fld id="{95F2C37F-3B2F-4EF5-ACA7-7CAE90B16EF0}" type="datetimeFigureOut">
              <a:rPr lang="en-US" smtClean="0"/>
              <a:t>1/4/2023</a:t>
            </a:fld>
            <a:endParaRPr lang="en-US" dirty="0"/>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12" tIns="46656" rIns="93312" bIns="46656"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12" tIns="46656" rIns="93312" bIns="466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1"/>
            <a:ext cx="3043343" cy="467071"/>
          </a:xfrm>
          <a:prstGeom prst="rect">
            <a:avLst/>
          </a:prstGeom>
        </p:spPr>
        <p:txBody>
          <a:bodyPr vert="horz" lIns="93312" tIns="46656" rIns="93312" bIns="466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1"/>
            <a:ext cx="3043343" cy="467071"/>
          </a:xfrm>
          <a:prstGeom prst="rect">
            <a:avLst/>
          </a:prstGeom>
        </p:spPr>
        <p:txBody>
          <a:bodyPr vert="horz" lIns="93312" tIns="46656" rIns="93312" bIns="46656" rtlCol="0" anchor="b"/>
          <a:lstStyle>
            <a:lvl1pPr algn="r">
              <a:defRPr sz="1200"/>
            </a:lvl1pPr>
          </a:lstStyle>
          <a:p>
            <a:fld id="{5D2BE52C-2E3A-4EF2-89FA-0C0E2D473C78}" type="slidenum">
              <a:rPr lang="en-US" smtClean="0"/>
              <a:t>‹#›</a:t>
            </a:fld>
            <a:endParaRPr lang="en-US" dirty="0"/>
          </a:p>
        </p:txBody>
      </p:sp>
    </p:spTree>
    <p:extLst>
      <p:ext uri="{BB962C8B-B14F-4D97-AF65-F5344CB8AC3E}">
        <p14:creationId xmlns:p14="http://schemas.microsoft.com/office/powerpoint/2010/main" val="690993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 opening</a:t>
            </a:r>
          </a:p>
        </p:txBody>
      </p:sp>
      <p:sp>
        <p:nvSpPr>
          <p:cNvPr id="4" name="Slide Number Placeholder 3"/>
          <p:cNvSpPr>
            <a:spLocks noGrp="1"/>
          </p:cNvSpPr>
          <p:nvPr>
            <p:ph type="sldNum" sz="quarter" idx="5"/>
          </p:nvPr>
        </p:nvSpPr>
        <p:spPr/>
        <p:txBody>
          <a:bodyPr/>
          <a:lstStyle/>
          <a:p>
            <a:fld id="{5D2BE52C-2E3A-4EF2-89FA-0C0E2D473C78}" type="slidenum">
              <a:rPr lang="en-US" smtClean="0"/>
              <a:t>0</a:t>
            </a:fld>
            <a:endParaRPr lang="en-US" dirty="0"/>
          </a:p>
        </p:txBody>
      </p:sp>
    </p:spTree>
    <p:extLst>
      <p:ext uri="{BB962C8B-B14F-4D97-AF65-F5344CB8AC3E}">
        <p14:creationId xmlns:p14="http://schemas.microsoft.com/office/powerpoint/2010/main" val="2157936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Prog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More than 85,000 more Virginians are working, compared to January 202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Virginia’s labor force participation rate has seen an upward trend since January 2023 and unemployment has fallen by half a percentage point during the same peri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The Secretary of Labor is leading an effort to strengthen Virginia’s workforce development landscape through enhanced coordination across the Commonwealth and house workforce programs under one centralized state ag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The Administration has also transformed operations at the Virginia Employment Commission to complete nearly 900,000 backlog claims, reducing the backlog by 87%. </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9</a:t>
            </a:fld>
            <a:endParaRPr lang="en-US" dirty="0"/>
          </a:p>
        </p:txBody>
      </p:sp>
    </p:spTree>
    <p:extLst>
      <p:ext uri="{BB962C8B-B14F-4D97-AF65-F5344CB8AC3E}">
        <p14:creationId xmlns:p14="http://schemas.microsoft.com/office/powerpoint/2010/main" val="2230189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p:txBody>
      </p:sp>
      <p:sp>
        <p:nvSpPr>
          <p:cNvPr id="4" name="Slide Number Placeholder 3"/>
          <p:cNvSpPr>
            <a:spLocks noGrp="1"/>
          </p:cNvSpPr>
          <p:nvPr>
            <p:ph type="sldNum" sz="quarter" idx="5"/>
          </p:nvPr>
        </p:nvSpPr>
        <p:spPr/>
        <p:txBody>
          <a:bodyPr/>
          <a:lstStyle/>
          <a:p>
            <a:fld id="{5D2BE52C-2E3A-4EF2-89FA-0C0E2D473C78}" type="slidenum">
              <a:rPr lang="en-US" smtClean="0"/>
              <a:t>10</a:t>
            </a:fld>
            <a:endParaRPr lang="en-US" dirty="0"/>
          </a:p>
        </p:txBody>
      </p:sp>
    </p:spTree>
    <p:extLst>
      <p:ext uri="{BB962C8B-B14F-4D97-AF65-F5344CB8AC3E}">
        <p14:creationId xmlns:p14="http://schemas.microsoft.com/office/powerpoint/2010/main" val="3870155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p:txBody>
      </p:sp>
      <p:sp>
        <p:nvSpPr>
          <p:cNvPr id="4" name="Slide Number Placeholder 3"/>
          <p:cNvSpPr>
            <a:spLocks noGrp="1"/>
          </p:cNvSpPr>
          <p:nvPr>
            <p:ph type="sldNum" sz="quarter" idx="5"/>
          </p:nvPr>
        </p:nvSpPr>
        <p:spPr/>
        <p:txBody>
          <a:bodyPr/>
          <a:lstStyle/>
          <a:p>
            <a:fld id="{5D2BE52C-2E3A-4EF2-89FA-0C0E2D473C78}" type="slidenum">
              <a:rPr lang="en-US" smtClean="0"/>
              <a:t>11</a:t>
            </a:fld>
            <a:endParaRPr lang="en-US" dirty="0"/>
          </a:p>
        </p:txBody>
      </p:sp>
    </p:spTree>
    <p:extLst>
      <p:ext uri="{BB962C8B-B14F-4D97-AF65-F5344CB8AC3E}">
        <p14:creationId xmlns:p14="http://schemas.microsoft.com/office/powerpoint/2010/main" val="378027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p:txBody>
      </p:sp>
      <p:sp>
        <p:nvSpPr>
          <p:cNvPr id="4" name="Slide Number Placeholder 3"/>
          <p:cNvSpPr>
            <a:spLocks noGrp="1"/>
          </p:cNvSpPr>
          <p:nvPr>
            <p:ph type="sldNum" sz="quarter" idx="5"/>
          </p:nvPr>
        </p:nvSpPr>
        <p:spPr/>
        <p:txBody>
          <a:bodyPr/>
          <a:lstStyle/>
          <a:p>
            <a:fld id="{5D2BE52C-2E3A-4EF2-89FA-0C0E2D473C78}" type="slidenum">
              <a:rPr lang="en-US" smtClean="0"/>
              <a:t>12</a:t>
            </a:fld>
            <a:endParaRPr lang="en-US" dirty="0"/>
          </a:p>
        </p:txBody>
      </p:sp>
    </p:spTree>
    <p:extLst>
      <p:ext uri="{BB962C8B-B14F-4D97-AF65-F5344CB8AC3E}">
        <p14:creationId xmlns:p14="http://schemas.microsoft.com/office/powerpoint/2010/main" val="260477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a:p>
            <a:endParaRPr lang="en-US" dirty="0"/>
          </a:p>
          <a:p>
            <a:r>
              <a:rPr lang="en-US" u="sng" dirty="0"/>
              <a:t>Sites Progress</a:t>
            </a:r>
          </a:p>
          <a:p>
            <a:pPr marL="171450" indent="-171450">
              <a:buFont typeface="Arial" panose="020B0604020202020204" pitchFamily="34" charset="0"/>
              <a:buChar char="•"/>
            </a:pPr>
            <a:r>
              <a:rPr lang="en-US" u="none" dirty="0"/>
              <a:t>In recent years, the Commonwealth has gathered significant intelligence on market demand for real estate and the development potential of economic development sites in the state. Virginia has also identified peer-state best practices for site development that have contributed to transformational project wins. </a:t>
            </a:r>
          </a:p>
          <a:p>
            <a:pPr marL="171450" indent="-171450">
              <a:buFont typeface="Arial" panose="020B0604020202020204" pitchFamily="34" charset="0"/>
              <a:buChar char="•"/>
            </a:pPr>
            <a:r>
              <a:rPr lang="en-US" u="none" dirty="0"/>
              <a:t>This Administration oversaw a significant expansion of funding for site development through the Virginia Business Ready Sites Program (VBRSP) from $5 million to $159 million, a critical step to enhancing Virginia’s competitive position.</a:t>
            </a:r>
          </a:p>
          <a:p>
            <a:pPr marL="171450" indent="-171450">
              <a:buFont typeface="Arial" panose="020B0604020202020204" pitchFamily="34" charset="0"/>
              <a:buChar char="•"/>
            </a:pPr>
            <a:r>
              <a:rPr lang="en-US" u="none" dirty="0"/>
              <a:t>This Administration also announced $10.6 million in Abandoned Mine Land Economic Revitalization (AMLER) program grants to repurpose abandoned mine land for economic development in Southwest Virginia.</a:t>
            </a:r>
          </a:p>
          <a:p>
            <a:pPr marL="171450" indent="-171450">
              <a:buFont typeface="Arial" panose="020B0604020202020204" pitchFamily="34" charset="0"/>
              <a:buChar char="•"/>
            </a:pPr>
            <a:r>
              <a:rPr lang="en-US" u="none" dirty="0"/>
              <a:t>Finally, a comprehensive regulatory modernization effort is underway through the newly established Office of Regulatory Management to streamline and increase the transparency of Virginia’s regulatory and permitting processes. </a:t>
            </a:r>
          </a:p>
          <a:p>
            <a:pPr marL="171450" indent="-171450">
              <a:buFont typeface="Arial" panose="020B0604020202020204" pitchFamily="34" charset="0"/>
              <a:buChar char="•"/>
            </a:pPr>
            <a:endParaRPr lang="en-US" u="none" dirty="0"/>
          </a:p>
          <a:p>
            <a:pPr marL="0" indent="0">
              <a:buFont typeface="Arial" panose="020B0604020202020204" pitchFamily="34" charset="0"/>
              <a:buNone/>
            </a:pPr>
            <a:r>
              <a:rPr lang="en-US" u="sng" dirty="0"/>
              <a:t>Energy progress</a:t>
            </a:r>
          </a:p>
          <a:p>
            <a:pPr marL="171450" lvl="0" indent="-171450">
              <a:buFont typeface="Arial" panose="020B0604020202020204" pitchFamily="34" charset="0"/>
              <a:buChar char="•"/>
            </a:pPr>
            <a:r>
              <a:rPr lang="en-US" u="none" dirty="0"/>
              <a:t>In October 2022, the Administration released the Virginia Energy Plan, charting a bold roadmap for energy policy in the Commonwealth; he Virginia Energy Plan highlights the five guiding principles of Virginia’s energy: reliability, affordability, innovation, competition, and environmental stewardship.</a:t>
            </a:r>
          </a:p>
          <a:p>
            <a:pPr marL="171450" lvl="0" indent="-171450">
              <a:buFont typeface="Arial" panose="020B0604020202020204" pitchFamily="34" charset="0"/>
              <a:buChar char="•"/>
            </a:pPr>
            <a:r>
              <a:rPr lang="en-US" u="none" dirty="0"/>
              <a:t>Following the release of the Virginia Energy Plan, Governor Youngkin called for the creation of the Power Innovation Fund, a proposed program to develop a Virginia Nuclear Innovation Hub and support research and development of hydrogen, carbon capture and utilization, and battery storage power sources.</a:t>
            </a:r>
          </a:p>
        </p:txBody>
      </p:sp>
      <p:sp>
        <p:nvSpPr>
          <p:cNvPr id="4" name="Slide Number Placeholder 3"/>
          <p:cNvSpPr>
            <a:spLocks noGrp="1"/>
          </p:cNvSpPr>
          <p:nvPr>
            <p:ph type="sldNum" sz="quarter" idx="5"/>
          </p:nvPr>
        </p:nvSpPr>
        <p:spPr/>
        <p:txBody>
          <a:bodyPr/>
          <a:lstStyle/>
          <a:p>
            <a:fld id="{5D2BE52C-2E3A-4EF2-89FA-0C0E2D473C78}" type="slidenum">
              <a:rPr lang="en-US" smtClean="0"/>
              <a:t>13</a:t>
            </a:fld>
            <a:endParaRPr lang="en-US" dirty="0"/>
          </a:p>
        </p:txBody>
      </p:sp>
    </p:spTree>
    <p:extLst>
      <p:ext uri="{BB962C8B-B14F-4D97-AF65-F5344CB8AC3E}">
        <p14:creationId xmlns:p14="http://schemas.microsoft.com/office/powerpoint/2010/main" val="2376999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p:txBody>
      </p:sp>
      <p:sp>
        <p:nvSpPr>
          <p:cNvPr id="4" name="Slide Number Placeholder 3"/>
          <p:cNvSpPr>
            <a:spLocks noGrp="1"/>
          </p:cNvSpPr>
          <p:nvPr>
            <p:ph type="sldNum" sz="quarter" idx="5"/>
          </p:nvPr>
        </p:nvSpPr>
        <p:spPr/>
        <p:txBody>
          <a:bodyPr/>
          <a:lstStyle/>
          <a:p>
            <a:fld id="{5D2BE52C-2E3A-4EF2-89FA-0C0E2D473C78}" type="slidenum">
              <a:rPr lang="en-US" smtClean="0"/>
              <a:t>14</a:t>
            </a:fld>
            <a:endParaRPr lang="en-US" dirty="0"/>
          </a:p>
        </p:txBody>
      </p:sp>
    </p:spTree>
    <p:extLst>
      <p:ext uri="{BB962C8B-B14F-4D97-AF65-F5344CB8AC3E}">
        <p14:creationId xmlns:p14="http://schemas.microsoft.com/office/powerpoint/2010/main" val="2451182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91138" cy="3968750"/>
          </a:xfrm>
        </p:spPr>
      </p:sp>
      <p:sp>
        <p:nvSpPr>
          <p:cNvPr id="3" name="Notes Placeholder 2"/>
          <p:cNvSpPr>
            <a:spLocks noGrp="1"/>
          </p:cNvSpPr>
          <p:nvPr>
            <p:ph type="body" idx="1"/>
          </p:nvPr>
        </p:nvSpPr>
        <p:spPr/>
        <p:txBody>
          <a:bodyPr/>
          <a:lstStyle/>
          <a:p>
            <a:r>
              <a:rPr lang="en-US" dirty="0"/>
              <a:t>Tyler</a:t>
            </a:r>
          </a:p>
        </p:txBody>
      </p:sp>
    </p:spTree>
    <p:extLst>
      <p:ext uri="{BB962C8B-B14F-4D97-AF65-F5344CB8AC3E}">
        <p14:creationId xmlns:p14="http://schemas.microsoft.com/office/powerpoint/2010/main" val="3668897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p:txBody>
      </p:sp>
      <p:sp>
        <p:nvSpPr>
          <p:cNvPr id="4" name="Slide Number Placeholder 3"/>
          <p:cNvSpPr>
            <a:spLocks noGrp="1"/>
          </p:cNvSpPr>
          <p:nvPr>
            <p:ph type="sldNum" sz="quarter" idx="5"/>
          </p:nvPr>
        </p:nvSpPr>
        <p:spPr/>
        <p:txBody>
          <a:bodyPr/>
          <a:lstStyle/>
          <a:p>
            <a:fld id="{5D2BE52C-2E3A-4EF2-89FA-0C0E2D473C78}" type="slidenum">
              <a:rPr lang="en-US" smtClean="0"/>
              <a:t>16</a:t>
            </a:fld>
            <a:endParaRPr lang="en-US" dirty="0"/>
          </a:p>
        </p:txBody>
      </p:sp>
    </p:spTree>
    <p:extLst>
      <p:ext uri="{BB962C8B-B14F-4D97-AF65-F5344CB8AC3E}">
        <p14:creationId xmlns:p14="http://schemas.microsoft.com/office/powerpoint/2010/main" val="815034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a:p>
            <a:endParaRPr lang="en-US" dirty="0"/>
          </a:p>
          <a:p>
            <a:r>
              <a:rPr lang="en-US" u="sng" dirty="0"/>
              <a:t>Progress</a:t>
            </a:r>
          </a:p>
          <a:p>
            <a:pPr marL="171450" indent="-171450">
              <a:buFont typeface="Arial" panose="020B0604020202020204" pitchFamily="34" charset="0"/>
              <a:buChar char="•"/>
            </a:pPr>
            <a:r>
              <a:rPr lang="en-US" u="none" dirty="0"/>
              <a:t>Governor Youngkin signed Virginia’s state budget, which included $4 billion in tax relief for Virginians, including increasing the standard deduction by 80%, eliminating the state’s portion of the grocery tax, and tax reductions on military retirement pay. </a:t>
            </a:r>
          </a:p>
          <a:p>
            <a:pPr marL="171450" indent="-171450">
              <a:buFont typeface="Arial" panose="020B0604020202020204" pitchFamily="34" charset="0"/>
              <a:buChar char="•"/>
            </a:pPr>
            <a:r>
              <a:rPr lang="en-US" u="none" dirty="0"/>
              <a:t>In August 2022, Governor Youngkin also announced a state sales tax holiday to provide further tax relief for Virginia families. </a:t>
            </a:r>
          </a:p>
          <a:p>
            <a:pPr marL="171450" indent="-171450">
              <a:buFont typeface="Arial" panose="020B0604020202020204" pitchFamily="34" charset="0"/>
              <a:buChar char="•"/>
            </a:pPr>
            <a:r>
              <a:rPr lang="en-US" u="none" dirty="0"/>
              <a:t>The Administration has also made key investments to make housing more affordable for Virginia, including $60 million in Housing Opportunity Tax Credit awards. </a:t>
            </a:r>
          </a:p>
          <a:p>
            <a:pPr marL="171450" indent="-171450">
              <a:buFont typeface="Arial" panose="020B0604020202020204" pitchFamily="34" charset="0"/>
              <a:buChar char="•"/>
            </a:pPr>
            <a:r>
              <a:rPr lang="en-US" u="none" dirty="0"/>
              <a:t>The Administration’s Make Virginia Home plan will promote an increased supply of attainable, affordable, and accessible housing across the Commonwealth. </a:t>
            </a:r>
          </a:p>
        </p:txBody>
      </p:sp>
      <p:sp>
        <p:nvSpPr>
          <p:cNvPr id="4" name="Slide Number Placeholder 3"/>
          <p:cNvSpPr>
            <a:spLocks noGrp="1"/>
          </p:cNvSpPr>
          <p:nvPr>
            <p:ph type="sldNum" sz="quarter" idx="5"/>
          </p:nvPr>
        </p:nvSpPr>
        <p:spPr/>
        <p:txBody>
          <a:bodyPr/>
          <a:lstStyle/>
          <a:p>
            <a:fld id="{5D2BE52C-2E3A-4EF2-89FA-0C0E2D473C78}" type="slidenum">
              <a:rPr lang="en-US" smtClean="0"/>
              <a:t>17</a:t>
            </a:fld>
            <a:endParaRPr lang="en-US" dirty="0"/>
          </a:p>
        </p:txBody>
      </p:sp>
    </p:spTree>
    <p:extLst>
      <p:ext uri="{BB962C8B-B14F-4D97-AF65-F5344CB8AC3E}">
        <p14:creationId xmlns:p14="http://schemas.microsoft.com/office/powerpoint/2010/main" val="23738606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18</a:t>
            </a:fld>
            <a:endParaRPr lang="en-US" dirty="0"/>
          </a:p>
        </p:txBody>
      </p:sp>
    </p:spTree>
    <p:extLst>
      <p:ext uri="{BB962C8B-B14F-4D97-AF65-F5344CB8AC3E}">
        <p14:creationId xmlns:p14="http://schemas.microsoft.com/office/powerpoint/2010/main" val="2261746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p:txBody>
      </p:sp>
      <p:sp>
        <p:nvSpPr>
          <p:cNvPr id="4" name="Slide Number Placeholder 3"/>
          <p:cNvSpPr>
            <a:spLocks noGrp="1"/>
          </p:cNvSpPr>
          <p:nvPr>
            <p:ph type="sldNum" sz="quarter" idx="5"/>
          </p:nvPr>
        </p:nvSpPr>
        <p:spPr/>
        <p:txBody>
          <a:bodyPr/>
          <a:lstStyle/>
          <a:p>
            <a:fld id="{5D2BE52C-2E3A-4EF2-89FA-0C0E2D473C78}" type="slidenum">
              <a:rPr lang="en-US" smtClean="0"/>
              <a:t>1</a:t>
            </a:fld>
            <a:endParaRPr lang="en-US" dirty="0"/>
          </a:p>
        </p:txBody>
      </p:sp>
    </p:spTree>
    <p:extLst>
      <p:ext uri="{BB962C8B-B14F-4D97-AF65-F5344CB8AC3E}">
        <p14:creationId xmlns:p14="http://schemas.microsoft.com/office/powerpoint/2010/main" val="2200218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19</a:t>
            </a:fld>
            <a:endParaRPr lang="en-US" dirty="0"/>
          </a:p>
        </p:txBody>
      </p:sp>
    </p:spTree>
    <p:extLst>
      <p:ext uri="{BB962C8B-B14F-4D97-AF65-F5344CB8AC3E}">
        <p14:creationId xmlns:p14="http://schemas.microsoft.com/office/powerpoint/2010/main" val="40737944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a:p>
            <a:endParaRPr lang="en-US" dirty="0"/>
          </a:p>
          <a:p>
            <a:r>
              <a:rPr lang="en-US" u="sng" dirty="0"/>
              <a:t>Progress</a:t>
            </a:r>
          </a:p>
          <a:p>
            <a:pPr marL="171450" indent="-171450">
              <a:buFont typeface="Arial" panose="020B0604020202020204" pitchFamily="34" charset="0"/>
              <a:buChar char="•"/>
            </a:pPr>
            <a:r>
              <a:rPr lang="en-US" dirty="0"/>
              <a:t>This Administration has made significant headway in improving the cost and ease of doing business in Virginia.</a:t>
            </a:r>
          </a:p>
          <a:p>
            <a:pPr marL="171450" indent="-171450">
              <a:buFont typeface="Arial" panose="020B0604020202020204" pitchFamily="34" charset="0"/>
              <a:buChar char="•"/>
            </a:pPr>
            <a:r>
              <a:rPr lang="en-US" dirty="0"/>
              <a:t>In June 2022, Executive Order 19 established the Office of Regulatory Management to streamline and modernize regulatory processes, increase transparency, and reduce Virginia’s regulatory burdens by 25%. This effort has already brought unprecedented transparency and efficiency to Virginia’s regulatory processes, with further improvements underway. </a:t>
            </a:r>
          </a:p>
        </p:txBody>
      </p:sp>
      <p:sp>
        <p:nvSpPr>
          <p:cNvPr id="4" name="Slide Number Placeholder 3"/>
          <p:cNvSpPr>
            <a:spLocks noGrp="1"/>
          </p:cNvSpPr>
          <p:nvPr>
            <p:ph type="sldNum" sz="quarter" idx="5"/>
          </p:nvPr>
        </p:nvSpPr>
        <p:spPr/>
        <p:txBody>
          <a:bodyPr/>
          <a:lstStyle/>
          <a:p>
            <a:fld id="{5D2BE52C-2E3A-4EF2-89FA-0C0E2D473C78}" type="slidenum">
              <a:rPr lang="en-US" smtClean="0"/>
              <a:t>20</a:t>
            </a:fld>
            <a:endParaRPr lang="en-US" dirty="0"/>
          </a:p>
        </p:txBody>
      </p:sp>
    </p:spTree>
    <p:extLst>
      <p:ext uri="{BB962C8B-B14F-4D97-AF65-F5344CB8AC3E}">
        <p14:creationId xmlns:p14="http://schemas.microsoft.com/office/powerpoint/2010/main" val="5709595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21</a:t>
            </a:fld>
            <a:endParaRPr lang="en-US" dirty="0"/>
          </a:p>
        </p:txBody>
      </p:sp>
    </p:spTree>
    <p:extLst>
      <p:ext uri="{BB962C8B-B14F-4D97-AF65-F5344CB8AC3E}">
        <p14:creationId xmlns:p14="http://schemas.microsoft.com/office/powerpoint/2010/main" val="3055797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22</a:t>
            </a:fld>
            <a:endParaRPr lang="en-US" dirty="0"/>
          </a:p>
        </p:txBody>
      </p:sp>
    </p:spTree>
    <p:extLst>
      <p:ext uri="{BB962C8B-B14F-4D97-AF65-F5344CB8AC3E}">
        <p14:creationId xmlns:p14="http://schemas.microsoft.com/office/powerpoint/2010/main" val="7296739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a:p>
            <a:endParaRPr lang="en-US" dirty="0"/>
          </a:p>
          <a:p>
            <a:r>
              <a:rPr lang="en-US" u="sng" dirty="0"/>
              <a:t>Progress</a:t>
            </a:r>
          </a:p>
          <a:p>
            <a:pPr marL="171450" indent="-171450">
              <a:buFont typeface="Arial" panose="020B0604020202020204" pitchFamily="34" charset="0"/>
              <a:buChar char="•"/>
            </a:pPr>
            <a:r>
              <a:rPr lang="en-US" dirty="0"/>
              <a:t>In December 2022, Virginia secured $230 million in funding through the U.S. Department of Treasury’s State Small Business Credit Initiative (SSBCI) to accelerate the formation and growth of entrepreneurial businesses across the Commonwealth</a:t>
            </a:r>
          </a:p>
          <a:p>
            <a:pPr marL="171450" indent="-171450">
              <a:buFont typeface="Arial" panose="020B0604020202020204" pitchFamily="34" charset="0"/>
              <a:buChar char="•"/>
            </a:pPr>
            <a:r>
              <a:rPr lang="en-US" dirty="0"/>
              <a:t>In 2022, Virginia revamped the way that it defines and tracks startups, seeing substantial startup growth since January (20 employees or fewer, high-paying, and alignment with target industries)</a:t>
            </a:r>
          </a:p>
          <a:p>
            <a:pPr marL="171450" indent="-171450">
              <a:buFont typeface="Arial" panose="020B0604020202020204" pitchFamily="34" charset="0"/>
              <a:buChar char="•"/>
            </a:pPr>
            <a:r>
              <a:rPr lang="en-US" dirty="0"/>
              <a:t>Since January 2022, the Virginia Innovation Partnership Corporation has announced $6.5 million in grants to 97 projects through the Commonwealth Commercialization Fund and $7.2 million in equity investments to 43 startups through the Virginia Venture Partners program.</a:t>
            </a:r>
          </a:p>
          <a:p>
            <a:pPr marL="171450" indent="-171450">
              <a:buFont typeface="Arial" panose="020B0604020202020204" pitchFamily="34" charset="0"/>
              <a:buChar char="•"/>
            </a:pPr>
            <a:r>
              <a:rPr lang="en-US" dirty="0"/>
              <a:t>In November 2022, Governor Youngkin announced $300,000 in matching grant awards to 64 small business partnerships as part of the Virginia Tourism Corporation’s micro-business marketing program, leveraging nearly $800,000 in private sector funds</a:t>
            </a:r>
          </a:p>
        </p:txBody>
      </p:sp>
      <p:sp>
        <p:nvSpPr>
          <p:cNvPr id="4" name="Slide Number Placeholder 3"/>
          <p:cNvSpPr>
            <a:spLocks noGrp="1"/>
          </p:cNvSpPr>
          <p:nvPr>
            <p:ph type="sldNum" sz="quarter" idx="5"/>
          </p:nvPr>
        </p:nvSpPr>
        <p:spPr/>
        <p:txBody>
          <a:bodyPr/>
          <a:lstStyle/>
          <a:p>
            <a:fld id="{5D2BE52C-2E3A-4EF2-89FA-0C0E2D473C78}" type="slidenum">
              <a:rPr lang="en-US" smtClean="0"/>
              <a:t>23</a:t>
            </a:fld>
            <a:endParaRPr lang="en-US" dirty="0"/>
          </a:p>
        </p:txBody>
      </p:sp>
    </p:spTree>
    <p:extLst>
      <p:ext uri="{BB962C8B-B14F-4D97-AF65-F5344CB8AC3E}">
        <p14:creationId xmlns:p14="http://schemas.microsoft.com/office/powerpoint/2010/main" val="14096038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24</a:t>
            </a:fld>
            <a:endParaRPr lang="en-US" dirty="0"/>
          </a:p>
        </p:txBody>
      </p:sp>
    </p:spTree>
    <p:extLst>
      <p:ext uri="{BB962C8B-B14F-4D97-AF65-F5344CB8AC3E}">
        <p14:creationId xmlns:p14="http://schemas.microsoft.com/office/powerpoint/2010/main" val="1093714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icole</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25</a:t>
            </a:fld>
            <a:endParaRPr lang="en-US" dirty="0"/>
          </a:p>
        </p:txBody>
      </p:sp>
    </p:spTree>
    <p:extLst>
      <p:ext uri="{BB962C8B-B14F-4D97-AF65-F5344CB8AC3E}">
        <p14:creationId xmlns:p14="http://schemas.microsoft.com/office/powerpoint/2010/main" val="5805027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32</a:t>
            </a:fld>
            <a:endParaRPr lang="en-CA" dirty="0"/>
          </a:p>
        </p:txBody>
      </p:sp>
    </p:spTree>
    <p:extLst>
      <p:ext uri="{BB962C8B-B14F-4D97-AF65-F5344CB8AC3E}">
        <p14:creationId xmlns:p14="http://schemas.microsoft.com/office/powerpoint/2010/main" val="3270577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34</a:t>
            </a:fld>
            <a:endParaRPr lang="en-CA" dirty="0"/>
          </a:p>
        </p:txBody>
      </p:sp>
    </p:spTree>
    <p:extLst>
      <p:ext uri="{BB962C8B-B14F-4D97-AF65-F5344CB8AC3E}">
        <p14:creationId xmlns:p14="http://schemas.microsoft.com/office/powerpoint/2010/main" val="5725359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36</a:t>
            </a:fld>
            <a:endParaRPr lang="en-CA" dirty="0"/>
          </a:p>
        </p:txBody>
      </p:sp>
    </p:spTree>
    <p:extLst>
      <p:ext uri="{BB962C8B-B14F-4D97-AF65-F5344CB8AC3E}">
        <p14:creationId xmlns:p14="http://schemas.microsoft.com/office/powerpoint/2010/main" val="1462839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cole</a:t>
            </a:r>
          </a:p>
        </p:txBody>
      </p:sp>
      <p:sp>
        <p:nvSpPr>
          <p:cNvPr id="4" name="Slide Number Placeholder 3"/>
          <p:cNvSpPr>
            <a:spLocks noGrp="1"/>
          </p:cNvSpPr>
          <p:nvPr>
            <p:ph type="sldNum" sz="quarter" idx="5"/>
          </p:nvPr>
        </p:nvSpPr>
        <p:spPr/>
        <p:txBody>
          <a:bodyPr/>
          <a:lstStyle/>
          <a:p>
            <a:fld id="{5D2BE52C-2E3A-4EF2-89FA-0C0E2D473C78}" type="slidenum">
              <a:rPr lang="en-US" smtClean="0"/>
              <a:t>2</a:t>
            </a:fld>
            <a:endParaRPr lang="en-US" dirty="0"/>
          </a:p>
        </p:txBody>
      </p:sp>
    </p:spTree>
    <p:extLst>
      <p:ext uri="{BB962C8B-B14F-4D97-AF65-F5344CB8AC3E}">
        <p14:creationId xmlns:p14="http://schemas.microsoft.com/office/powerpoint/2010/main" val="40204446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91138" cy="3968750"/>
          </a:xfrm>
        </p:spPr>
      </p:sp>
      <p:sp>
        <p:nvSpPr>
          <p:cNvPr id="3" name="Notes Placeholder 2"/>
          <p:cNvSpPr>
            <a:spLocks noGrp="1"/>
          </p:cNvSpPr>
          <p:nvPr>
            <p:ph type="body" idx="1"/>
          </p:nvPr>
        </p:nvSpPr>
        <p:spPr/>
        <p:txBody>
          <a:bodyPr/>
          <a:lstStyle/>
          <a:p>
            <a:r>
              <a:rPr lang="en-US" dirty="0"/>
              <a:t>Virginia</a:t>
            </a:r>
          </a:p>
          <a:p>
            <a:r>
              <a:rPr lang="en-US" dirty="0"/>
              <a:t>Low: 2020 Q4</a:t>
            </a:r>
          </a:p>
          <a:p>
            <a:r>
              <a:rPr lang="en-US" dirty="0"/>
              <a:t>100%: 2023 Q2</a:t>
            </a:r>
          </a:p>
          <a:p>
            <a:endParaRPr lang="en-US" dirty="0"/>
          </a:p>
          <a:p>
            <a:r>
              <a:rPr lang="en-US" dirty="0"/>
              <a:t>Urban Virginia</a:t>
            </a:r>
          </a:p>
          <a:p>
            <a:r>
              <a:rPr lang="en-US" dirty="0"/>
              <a:t>Low: 2021 Q1</a:t>
            </a:r>
          </a:p>
          <a:p>
            <a:r>
              <a:rPr lang="en-US" dirty="0"/>
              <a:t>100%: 2024 Q3</a:t>
            </a:r>
          </a:p>
          <a:p>
            <a:endParaRPr lang="en-US" dirty="0"/>
          </a:p>
          <a:p>
            <a:r>
              <a:rPr lang="en-US" dirty="0"/>
              <a:t>Rural Virginia</a:t>
            </a:r>
          </a:p>
          <a:p>
            <a:r>
              <a:rPr lang="en-US" dirty="0"/>
              <a:t>Low: 2020 Q4</a:t>
            </a:r>
          </a:p>
          <a:p>
            <a:r>
              <a:rPr lang="en-US" dirty="0"/>
              <a:t>100%: 2028 Q4</a:t>
            </a:r>
          </a:p>
          <a:p>
            <a:endParaRPr lang="en-US" dirty="0"/>
          </a:p>
          <a:p>
            <a:r>
              <a:rPr lang="en-US" dirty="0"/>
              <a:t>Moody’s updated its forecasts since the last version of this slide. On an annual basis Virginia still exceeds its 2019 level in 2021. Urban Virginia now exceeds its 2019 level in 2025 rather than 2024. Rural Virginia now exceeds its 2019 level in 2028 rather than 2027.</a:t>
            </a:r>
          </a:p>
        </p:txBody>
      </p:sp>
    </p:spTree>
    <p:extLst>
      <p:ext uri="{BB962C8B-B14F-4D97-AF65-F5344CB8AC3E}">
        <p14:creationId xmlns:p14="http://schemas.microsoft.com/office/powerpoint/2010/main" val="26406541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91138" cy="3968750"/>
          </a:xfrm>
        </p:spPr>
      </p:sp>
      <p:sp>
        <p:nvSpPr>
          <p:cNvPr id="3" name="Notes Placeholder 2"/>
          <p:cNvSpPr>
            <a:spLocks noGrp="1"/>
          </p:cNvSpPr>
          <p:nvPr>
            <p:ph type="body" idx="1"/>
          </p:nvPr>
        </p:nvSpPr>
        <p:spPr/>
        <p:txBody>
          <a:bodyPr/>
          <a:lstStyle/>
          <a:p>
            <a:r>
              <a:rPr lang="en-US" dirty="0"/>
              <a:t>Virginia</a:t>
            </a:r>
          </a:p>
          <a:p>
            <a:r>
              <a:rPr lang="en-US" dirty="0"/>
              <a:t>Low: 2020 Q4</a:t>
            </a:r>
          </a:p>
          <a:p>
            <a:r>
              <a:rPr lang="en-US" dirty="0"/>
              <a:t>100%: 2023 Q2</a:t>
            </a:r>
          </a:p>
          <a:p>
            <a:endParaRPr lang="en-US" dirty="0"/>
          </a:p>
          <a:p>
            <a:r>
              <a:rPr lang="en-US" dirty="0"/>
              <a:t>Urban Virginia</a:t>
            </a:r>
          </a:p>
          <a:p>
            <a:r>
              <a:rPr lang="en-US" dirty="0"/>
              <a:t>Low: 2021 Q1</a:t>
            </a:r>
          </a:p>
          <a:p>
            <a:r>
              <a:rPr lang="en-US" dirty="0"/>
              <a:t>100%: 2024 Q3</a:t>
            </a:r>
          </a:p>
          <a:p>
            <a:endParaRPr lang="en-US" dirty="0"/>
          </a:p>
          <a:p>
            <a:r>
              <a:rPr lang="en-US" dirty="0"/>
              <a:t>Rural Virginia</a:t>
            </a:r>
          </a:p>
          <a:p>
            <a:r>
              <a:rPr lang="en-US" dirty="0"/>
              <a:t>Low: 2020 Q4</a:t>
            </a:r>
          </a:p>
          <a:p>
            <a:r>
              <a:rPr lang="en-US" dirty="0"/>
              <a:t>100%: 2028 Q4</a:t>
            </a:r>
          </a:p>
          <a:p>
            <a:endParaRPr lang="en-US" dirty="0"/>
          </a:p>
          <a:p>
            <a:r>
              <a:rPr lang="en-US" dirty="0"/>
              <a:t>Moody’s updated its forecasts since the last version of this slide. On an annual basis Virginia still exceeds its 2019 level in 2021. Urban Virginia now exceeds its 2019 level in 2025 rather than 2024. Rural Virginia now exceeds its 2019 level in 2028 rather than 2027.</a:t>
            </a:r>
          </a:p>
        </p:txBody>
      </p:sp>
    </p:spTree>
    <p:extLst>
      <p:ext uri="{BB962C8B-B14F-4D97-AF65-F5344CB8AC3E}">
        <p14:creationId xmlns:p14="http://schemas.microsoft.com/office/powerpoint/2010/main" val="3601775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a:p>
            <a:endParaRPr lang="en-US" dirty="0"/>
          </a:p>
        </p:txBody>
      </p:sp>
      <p:sp>
        <p:nvSpPr>
          <p:cNvPr id="4" name="Slide Number Placeholder 3"/>
          <p:cNvSpPr>
            <a:spLocks noGrp="1"/>
          </p:cNvSpPr>
          <p:nvPr>
            <p:ph type="sldNum" sz="quarter" idx="5"/>
          </p:nvPr>
        </p:nvSpPr>
        <p:spPr/>
        <p:txBody>
          <a:bodyPr/>
          <a:lstStyle/>
          <a:p>
            <a:fld id="{5D2BE52C-2E3A-4EF2-89FA-0C0E2D473C78}" type="slidenum">
              <a:rPr lang="en-US" smtClean="0"/>
              <a:t>3</a:t>
            </a:fld>
            <a:endParaRPr lang="en-US" dirty="0"/>
          </a:p>
        </p:txBody>
      </p:sp>
    </p:spTree>
    <p:extLst>
      <p:ext uri="{BB962C8B-B14F-4D97-AF65-F5344CB8AC3E}">
        <p14:creationId xmlns:p14="http://schemas.microsoft.com/office/powerpoint/2010/main" val="2871042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p:txBody>
      </p:sp>
      <p:sp>
        <p:nvSpPr>
          <p:cNvPr id="4" name="Slide Number Placeholder 3"/>
          <p:cNvSpPr>
            <a:spLocks noGrp="1"/>
          </p:cNvSpPr>
          <p:nvPr>
            <p:ph type="sldNum" sz="quarter" idx="5"/>
          </p:nvPr>
        </p:nvSpPr>
        <p:spPr/>
        <p:txBody>
          <a:bodyPr/>
          <a:lstStyle/>
          <a:p>
            <a:fld id="{5D2BE52C-2E3A-4EF2-89FA-0C0E2D473C78}" type="slidenum">
              <a:rPr lang="en-US" smtClean="0"/>
              <a:t>4</a:t>
            </a:fld>
            <a:endParaRPr lang="en-US" dirty="0"/>
          </a:p>
        </p:txBody>
      </p:sp>
    </p:spTree>
    <p:extLst>
      <p:ext uri="{BB962C8B-B14F-4D97-AF65-F5344CB8AC3E}">
        <p14:creationId xmlns:p14="http://schemas.microsoft.com/office/powerpoint/2010/main" val="2993375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p:txBody>
      </p:sp>
      <p:sp>
        <p:nvSpPr>
          <p:cNvPr id="4" name="Slide Number Placeholder 3"/>
          <p:cNvSpPr>
            <a:spLocks noGrp="1"/>
          </p:cNvSpPr>
          <p:nvPr>
            <p:ph type="sldNum" sz="quarter" idx="5"/>
          </p:nvPr>
        </p:nvSpPr>
        <p:spPr/>
        <p:txBody>
          <a:bodyPr/>
          <a:lstStyle/>
          <a:p>
            <a:fld id="{5D2BE52C-2E3A-4EF2-89FA-0C0E2D473C78}" type="slidenum">
              <a:rPr lang="en-US" smtClean="0"/>
              <a:t>5</a:t>
            </a:fld>
            <a:endParaRPr lang="en-US" dirty="0"/>
          </a:p>
        </p:txBody>
      </p:sp>
    </p:spTree>
    <p:extLst>
      <p:ext uri="{BB962C8B-B14F-4D97-AF65-F5344CB8AC3E}">
        <p14:creationId xmlns:p14="http://schemas.microsoft.com/office/powerpoint/2010/main" val="119487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u="sng" dirty="0"/>
              <a:t>Prog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This Administration has already played a key role in enhancing Virginia’s approach to target industry attra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With the passage of the federal CHIPS Act, Virginia deployed a capture team to pursue projects in the semiconductor industry. Stakeholders across Virginia, including industry leaders such as Micron Technology, Inc. and staff from Virginia’s leading universities for semiconductor research, have been collaborating to support this tremendous opportunity to pursue historic employment and investment levels for the Commonw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u="none" dirty="0"/>
              <a:t>Virginia has gained momentum in the Controlled Environment Agriculture (CEA) space, securing project wins from leading CEA firms such as California-based Plenty Unlimited, Inc, a project that will generate more than 300 new jobs through a $300 million investment to build the world’s largest indoor vertical farming campus in Chesterfield County. Further, the Administration’s support of expanded funding for megasite development will enhance Virginia’s competitiveness for high-growth industries that require large, prepared sites, such as semiconductors, electric vehicles, and other advanced manufacturers.</a:t>
            </a:r>
          </a:p>
        </p:txBody>
      </p:sp>
      <p:sp>
        <p:nvSpPr>
          <p:cNvPr id="4" name="Slide Number Placeholder 3"/>
          <p:cNvSpPr>
            <a:spLocks noGrp="1"/>
          </p:cNvSpPr>
          <p:nvPr>
            <p:ph type="sldNum" sz="quarter" idx="5"/>
          </p:nvPr>
        </p:nvSpPr>
        <p:spPr/>
        <p:txBody>
          <a:bodyPr/>
          <a:lstStyle/>
          <a:p>
            <a:fld id="{5D2BE52C-2E3A-4EF2-89FA-0C0E2D473C78}" type="slidenum">
              <a:rPr lang="en-US" smtClean="0"/>
              <a:t>6</a:t>
            </a:fld>
            <a:endParaRPr lang="en-US" dirty="0"/>
          </a:p>
        </p:txBody>
      </p:sp>
    </p:spTree>
    <p:extLst>
      <p:ext uri="{BB962C8B-B14F-4D97-AF65-F5344CB8AC3E}">
        <p14:creationId xmlns:p14="http://schemas.microsoft.com/office/powerpoint/2010/main" val="494024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p:txBody>
      </p:sp>
      <p:sp>
        <p:nvSpPr>
          <p:cNvPr id="4" name="Slide Number Placeholder 3"/>
          <p:cNvSpPr>
            <a:spLocks noGrp="1"/>
          </p:cNvSpPr>
          <p:nvPr>
            <p:ph type="sldNum" sz="quarter" idx="5"/>
          </p:nvPr>
        </p:nvSpPr>
        <p:spPr/>
        <p:txBody>
          <a:bodyPr/>
          <a:lstStyle/>
          <a:p>
            <a:fld id="{5D2BE52C-2E3A-4EF2-89FA-0C0E2D473C78}" type="slidenum">
              <a:rPr lang="en-US" smtClean="0"/>
              <a:t>7</a:t>
            </a:fld>
            <a:endParaRPr lang="en-US" dirty="0"/>
          </a:p>
        </p:txBody>
      </p:sp>
    </p:spTree>
    <p:extLst>
      <p:ext uri="{BB962C8B-B14F-4D97-AF65-F5344CB8AC3E}">
        <p14:creationId xmlns:p14="http://schemas.microsoft.com/office/powerpoint/2010/main" val="4051867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ler</a:t>
            </a:r>
          </a:p>
          <a:p>
            <a:endParaRPr lang="en-US" dirty="0"/>
          </a:p>
          <a:p>
            <a:r>
              <a:rPr lang="en-US" dirty="0"/>
              <a:t>ID where we’re competitive &gt; enhance areas, where we aren’t’ competitive &gt;, deliver competitive, custom business solution</a:t>
            </a:r>
          </a:p>
        </p:txBody>
      </p:sp>
      <p:sp>
        <p:nvSpPr>
          <p:cNvPr id="4" name="Slide Number Placeholder 3"/>
          <p:cNvSpPr>
            <a:spLocks noGrp="1"/>
          </p:cNvSpPr>
          <p:nvPr>
            <p:ph type="sldNum" sz="quarter" idx="5"/>
          </p:nvPr>
        </p:nvSpPr>
        <p:spPr/>
        <p:txBody>
          <a:bodyPr/>
          <a:lstStyle/>
          <a:p>
            <a:fld id="{5D2BE52C-2E3A-4EF2-89FA-0C0E2D473C78}" type="slidenum">
              <a:rPr lang="en-US" smtClean="0"/>
              <a:t>8</a:t>
            </a:fld>
            <a:endParaRPr lang="en-US" dirty="0"/>
          </a:p>
        </p:txBody>
      </p:sp>
    </p:spTree>
    <p:extLst>
      <p:ext uri="{BB962C8B-B14F-4D97-AF65-F5344CB8AC3E}">
        <p14:creationId xmlns:p14="http://schemas.microsoft.com/office/powerpoint/2010/main" val="19070189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2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9.png"/><Relationship Id="rId11" Type="http://schemas.openxmlformats.org/officeDocument/2006/relationships/image" Target="../media/image22.png"/><Relationship Id="rId5" Type="http://schemas.openxmlformats.org/officeDocument/2006/relationships/image" Target="../media/image18.png"/><Relationship Id="rId10" Type="http://schemas.openxmlformats.org/officeDocument/2006/relationships/image" Target="../media/image21.png"/><Relationship Id="rId4" Type="http://schemas.openxmlformats.org/officeDocument/2006/relationships/image" Target="../media/image17.emf"/><Relationship Id="rId9" Type="http://schemas.openxmlformats.org/officeDocument/2006/relationships/image" Target="../media/image20.pn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2.xml"/><Relationship Id="rId6" Type="http://schemas.openxmlformats.org/officeDocument/2006/relationships/image" Target="../media/image3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41.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3.sv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41.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3.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3.xml"/><Relationship Id="rId6" Type="http://schemas.openxmlformats.org/officeDocument/2006/relationships/image" Target="../media/image38.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41.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41.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3.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5.xml"/><Relationship Id="rId6" Type="http://schemas.openxmlformats.org/officeDocument/2006/relationships/image" Target="../media/image6.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8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8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8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28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sv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41.sv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0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3.svg"/></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0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6.xml"/><Relationship Id="rId6" Type="http://schemas.openxmlformats.org/officeDocument/2006/relationships/image" Target="../media/image41.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6.xml"/><Relationship Id="rId6" Type="http://schemas.openxmlformats.org/officeDocument/2006/relationships/image" Target="../media/image41.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3.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41.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6.xml"/><Relationship Id="rId6" Type="http://schemas.openxmlformats.org/officeDocument/2006/relationships/image" Target="../media/image38.png"/><Relationship Id="rId5" Type="http://schemas.openxmlformats.org/officeDocument/2006/relationships/image" Target="../media/image41.svg"/><Relationship Id="rId4" Type="http://schemas.openxmlformats.org/officeDocument/2006/relationships/image" Target="../media/image5.png"/></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41.svg"/><Relationship Id="rId2" Type="http://schemas.openxmlformats.org/officeDocument/2006/relationships/image" Target="../media/image8.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41.sv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9.xml"/><Relationship Id="rId4" Type="http://schemas.openxmlformats.org/officeDocument/2006/relationships/image" Target="../media/image42.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7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38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7.xml"/><Relationship Id="rId6" Type="http://schemas.openxmlformats.org/officeDocument/2006/relationships/image" Target="../media/image6.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9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7.xml"/><Relationship Id="rId6" Type="http://schemas.openxmlformats.org/officeDocument/2006/relationships/image" Target="../media/image3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7.png"/><Relationship Id="rId9" Type="http://schemas.openxmlformats.org/officeDocument/2006/relationships/image" Target="../media/image38.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10"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38.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9.png"/><Relationship Id="rId7" Type="http://schemas.openxmlformats.org/officeDocument/2006/relationships/image" Target="../media/image3.png"/><Relationship Id="rId2" Type="http://schemas.openxmlformats.org/officeDocument/2006/relationships/image" Target="../media/image39.png"/><Relationship Id="rId1" Type="http://schemas.openxmlformats.org/officeDocument/2006/relationships/slideMaster" Target="../slideMasters/slideMaster1.xml"/><Relationship Id="rId6" Type="http://schemas.openxmlformats.org/officeDocument/2006/relationships/image" Target="../media/image38.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3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4.sv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6.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7.png"/><Relationship Id="rId2" Type="http://schemas.openxmlformats.org/officeDocument/2006/relationships/image" Target="../media/image34.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34.pn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image" Target="../media/image21.png"/><Relationship Id="rId5" Type="http://schemas.openxmlformats.org/officeDocument/2006/relationships/image" Target="../media/image5.png"/><Relationship Id="rId10" Type="http://schemas.openxmlformats.org/officeDocument/2006/relationships/image" Target="../media/image24.svg"/><Relationship Id="rId4" Type="http://schemas.openxmlformats.org/officeDocument/2006/relationships/image" Target="../media/image19.png"/><Relationship Id="rId9" Type="http://schemas.openxmlformats.org/officeDocument/2006/relationships/image" Target="../media/image2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0495177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238257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35964494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003312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752905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26214233"/>
      </p:ext>
    </p:extLst>
  </p:cSld>
  <p:clrMapOvr>
    <a:overrideClrMapping bg1="lt1" tx1="dk1" bg2="lt2" tx2="dk2" accent1="accent1" accent2="accent2" accent3="accent3" accent4="accent4" accent5="accent5" accent6="accent6" hlink="lt1" folHlink="lt1"/>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36668173"/>
      </p:ext>
    </p:extLst>
  </p:cSld>
  <p:clrMapOvr>
    <a:overrideClrMapping bg1="lt1" tx1="dk1" bg2="lt2" tx2="dk2" accent1="accent1" accent2="accent2" accent3="accent3" accent4="accent4" accent5="accent5" accent6="accent6" hlink="lt1" folHlink="lt1"/>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27022917"/>
      </p:ext>
    </p:extLst>
  </p:cSld>
  <p:clrMapOvr>
    <a:overrideClrMapping bg1="lt1" tx1="dk1" bg2="lt2" tx2="dk2" accent1="accent1" accent2="accent2" accent3="accent3" accent4="accent4" accent5="accent5" accent6="accent6" hlink="lt1" folHlink="lt1"/>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131945834"/>
      </p:ext>
    </p:extLst>
  </p:cSld>
  <p:clrMapOvr>
    <a:overrideClrMapping bg1="lt1" tx1="dk1" bg2="lt2" tx2="dk2" accent1="accent1" accent2="accent2" accent3="accent3" accent4="accent4" accent5="accent5" accent6="accent6" hlink="lt1" folHlink="lt1"/>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152684966"/>
      </p:ext>
    </p:extLst>
  </p:cSld>
  <p:clrMapOvr>
    <a:overrideClrMapping bg1="lt1" tx1="dk1" bg2="lt2" tx2="dk2" accent1="accent1" accent2="accent2" accent3="accent3" accent4="accent4" accent5="accent5" accent6="accent6" hlink="lt1" folHlink="lt1"/>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119695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543442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5F246CA-0EC2-7A43-08E4-AFA15C3304B9}"/>
              </a:ext>
            </a:extLst>
          </p:cNvPr>
          <p:cNvGraphicFramePr>
            <a:graphicFrameLocks noChangeAspect="1"/>
          </p:cNvGraphicFramePr>
          <p:nvPr userDrawn="1">
            <p:custDataLst>
              <p:tags r:id="rId1"/>
            </p:custDataLst>
            <p:extLst>
              <p:ext uri="{D42A27DB-BD31-4B8C-83A1-F6EECF244321}">
                <p14:modId xmlns:p14="http://schemas.microsoft.com/office/powerpoint/2010/main" val="5582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35F246CA-0EC2-7A43-08E4-AFA15C330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sz="1600">
                <a:latin typeface="Verlag Bold" pitchFamily="2" charset="0"/>
              </a:defRPr>
            </a:lvl1pPr>
            <a:lvl2pPr>
              <a:defRPr lang="en-US" sz="1600">
                <a:latin typeface="Verlag Book" pitchFamily="2" charset="0"/>
              </a:defRPr>
            </a:lvl2pPr>
            <a:lvl3pPr>
              <a:defRPr lang="en-US" sz="1600">
                <a:latin typeface="Verlag Book" pitchFamily="2" charset="0"/>
              </a:defRPr>
            </a:lvl3pPr>
            <a:lvl4pPr>
              <a:defRPr lang="en-US" sz="1600">
                <a:latin typeface="Verlag Book" pitchFamily="2" charset="0"/>
              </a:defRPr>
            </a:lvl4pPr>
            <a:lvl5pPr>
              <a:defRPr lang="en-US" sz="1600" dirty="0">
                <a:latin typeface="Verlag Book" pitchFamily="2" charset="0"/>
              </a:defRPr>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vert="horz"/>
          <a:lstStyle>
            <a:lvl1pPr>
              <a:defRPr>
                <a:latin typeface="Verlag Bold" pitchFamily="2" charset="0"/>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grpSp>
        <p:nvGrpSpPr>
          <p:cNvPr id="6" name="Group 5">
            <a:extLst>
              <a:ext uri="{FF2B5EF4-FFF2-40B4-BE49-F238E27FC236}">
                <a16:creationId xmlns:a16="http://schemas.microsoft.com/office/drawing/2014/main" id="{7377C8CE-D482-6D47-A000-443568B2C375}"/>
              </a:ext>
            </a:extLst>
          </p:cNvPr>
          <p:cNvGrpSpPr/>
          <p:nvPr/>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p:nvPicPr>
          <p:blipFill rotWithShape="1">
            <a:blip r:embed="rId5"/>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p:nvPicPr>
            <p:blipFill rotWithShape="1">
              <a:blip r:embed="rId6"/>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p:nvPicPr>
              <p:blipFill>
                <a:blip r:embed="rId9"/>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p:nvPicPr>
            <p:blipFill rotWithShape="1">
              <a:blip r:embed="rId10"/>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
        <p:nvSpPr>
          <p:cNvPr id="7" name="Rectangle 6">
            <a:extLst>
              <a:ext uri="{FF2B5EF4-FFF2-40B4-BE49-F238E27FC236}">
                <a16:creationId xmlns:a16="http://schemas.microsoft.com/office/drawing/2014/main" id="{1B1405E9-6120-471A-7520-0B16C702272C}"/>
              </a:ext>
            </a:extLst>
          </p:cNvPr>
          <p:cNvSpPr/>
          <p:nvPr userDrawn="1"/>
        </p:nvSpPr>
        <p:spPr>
          <a:xfrm>
            <a:off x="8220808" y="6461338"/>
            <a:ext cx="562707" cy="271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361360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2320599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38326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088062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30644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3344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95672078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3684555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23498506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412680003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286689920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77845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1948972673"/>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7901165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65545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29013823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322429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0629288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2590780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634524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867309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48587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813739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4518492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0563429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9076394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851228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110958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39097546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5727527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6990593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873955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57502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204113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8004548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5602873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1591567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8118741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216654211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132637816"/>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198332896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269717035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398825689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596969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4672842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261857761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5699995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12975037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8757909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40733169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707142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027958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52823932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9342659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121534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3" name="Rectangle 2">
            <a:extLst>
              <a:ext uri="{FF2B5EF4-FFF2-40B4-BE49-F238E27FC236}">
                <a16:creationId xmlns:a16="http://schemas.microsoft.com/office/drawing/2014/main" id="{DBD41A0F-5566-E6D1-1486-BCE101BFA46F}"/>
              </a:ext>
            </a:extLst>
          </p:cNvPr>
          <p:cNvSpPr/>
          <p:nvPr userDrawn="1"/>
        </p:nvSpPr>
        <p:spPr>
          <a:xfrm>
            <a:off x="8220972" y="6516148"/>
            <a:ext cx="516130" cy="190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16108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80032207"/>
      </p:ext>
    </p:extLst>
  </p:cSld>
  <p:clrMapOvr>
    <a:overrideClrMapping bg1="lt1" tx1="dk1" bg2="lt2" tx2="dk2" accent1="accent1" accent2="accent2" accent3="accent3" accent4="accent4" accent5="accent5" accent6="accent6" hlink="lt1" folHlink="lt1"/>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69047948"/>
      </p:ext>
    </p:extLst>
  </p:cSld>
  <p:clrMapOvr>
    <a:overrideClrMapping bg1="lt1" tx1="dk1" bg2="lt2" tx2="dk2" accent1="accent1" accent2="accent2" accent3="accent3" accent4="accent4" accent5="accent5" accent6="accent6" hlink="lt1" folHlink="lt1"/>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42377868"/>
      </p:ext>
    </p:extLst>
  </p:cSld>
  <p:clrMapOvr>
    <a:overrideClrMapping bg1="lt1" tx1="dk1" bg2="lt2" tx2="dk2" accent1="accent1" accent2="accent2" accent3="accent3" accent4="accent4" accent5="accent5" accent6="accent6" hlink="lt1" folHlink="lt1"/>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1358140096"/>
      </p:ext>
    </p:extLst>
  </p:cSld>
  <p:clrMapOvr>
    <a:overrideClrMapping bg1="lt1" tx1="dk1" bg2="lt2" tx2="dk2" accent1="accent1" accent2="accent2" accent3="accent3" accent4="accent4" accent5="accent5" accent6="accent6" hlink="lt1" folHlink="lt1"/>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216095757"/>
      </p:ext>
    </p:extLst>
  </p:cSld>
  <p:clrMapOvr>
    <a:overrideClrMapping bg1="lt1" tx1="dk1" bg2="lt2" tx2="dk2" accent1="accent1" accent2="accent2" accent3="accent3" accent4="accent4" accent5="accent5" accent6="accent6" hlink="lt1" folHlink="lt1"/>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805557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9694450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4743365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1143393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33549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313084211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21687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9170632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9800555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47922245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19067828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224797503"/>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981081360"/>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56111723"/>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9800298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6805501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6065638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53040770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335317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7160756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2647681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37386853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231404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087952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58770509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0030567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884351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127503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959282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105655123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211137679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687085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4394971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5293131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1580230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5546735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6108062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63627476"/>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58667315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22495924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2558820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313992274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121215431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288808999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8708127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429380583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48668470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749501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4812314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884669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404866878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23252926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11407323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3554912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70921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19060854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1540850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6251542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7134474"/>
      </p:ext>
    </p:extLst>
  </p:cSld>
  <p:clrMapOvr>
    <a:overrideClrMapping bg1="lt1" tx1="dk1" bg2="lt2" tx2="dk2" accent1="accent1" accent2="accent2" accent3="accent3" accent4="accent4" accent5="accent5" accent6="accent6" hlink="lt1" folHlink="lt1"/>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51357452"/>
      </p:ext>
    </p:extLst>
  </p:cSld>
  <p:clrMapOvr>
    <a:overrideClrMapping bg1="lt1" tx1="dk1" bg2="lt2" tx2="dk2" accent1="accent1" accent2="accent2" accent3="accent3" accent4="accent4" accent5="accent5" accent6="accent6" hlink="lt1" folHlink="lt1"/>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26637788"/>
      </p:ext>
    </p:extLst>
  </p:cSld>
  <p:clrMapOvr>
    <a:overrideClrMapping bg1="lt1" tx1="dk1" bg2="lt2" tx2="dk2" accent1="accent1" accent2="accent2" accent3="accent3" accent4="accent4" accent5="accent5" accent6="accent6" hlink="lt1" folHlink="lt1"/>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6763810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2199295047"/>
      </p:ext>
    </p:extLst>
  </p:cSld>
  <p:clrMapOvr>
    <a:overrideClrMapping bg1="lt1" tx1="dk1" bg2="lt2" tx2="dk2" accent1="accent1" accent2="accent2" accent3="accent3" accent4="accent4" accent5="accent5" accent6="accent6" hlink="lt1" folHlink="lt1"/>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2740161961"/>
      </p:ext>
    </p:extLst>
  </p:cSld>
  <p:clrMapOvr>
    <a:overrideClrMapping bg1="lt1" tx1="dk1" bg2="lt2" tx2="dk2" accent1="accent1" accent2="accent2" accent3="accent3" accent4="accent4" accent5="accent5" accent6="accent6" hlink="lt1" folHlink="lt1"/>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6897671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792592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0439578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591817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932748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1526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11117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42453037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
        <p:nvSpPr>
          <p:cNvPr id="3" name="Rectangle 2">
            <a:extLst>
              <a:ext uri="{FF2B5EF4-FFF2-40B4-BE49-F238E27FC236}">
                <a16:creationId xmlns:a16="http://schemas.microsoft.com/office/drawing/2014/main" id="{78E0D8B4-701C-82A8-FD78-196C51760304}"/>
              </a:ext>
            </a:extLst>
          </p:cNvPr>
          <p:cNvSpPr/>
          <p:nvPr userDrawn="1"/>
        </p:nvSpPr>
        <p:spPr>
          <a:xfrm>
            <a:off x="8160590" y="6516148"/>
            <a:ext cx="612195" cy="190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142074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89561500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58246918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873130824"/>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627541462"/>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2484756138"/>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56648075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7380350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59341994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16587605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
        <p:nvSpPr>
          <p:cNvPr id="7" name="Rectangle 6">
            <a:extLst>
              <a:ext uri="{FF2B5EF4-FFF2-40B4-BE49-F238E27FC236}">
                <a16:creationId xmlns:a16="http://schemas.microsoft.com/office/drawing/2014/main" id="{BA1AED6B-43C1-150C-BC5E-E71CC2389BF4}"/>
              </a:ext>
            </a:extLst>
          </p:cNvPr>
          <p:cNvSpPr/>
          <p:nvPr userDrawn="1"/>
        </p:nvSpPr>
        <p:spPr>
          <a:xfrm>
            <a:off x="8160590" y="6516148"/>
            <a:ext cx="612195" cy="190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29398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381682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317966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9902283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14429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7070733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95034709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258560714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357340307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42988475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35302116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39060728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24572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6955711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6120786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21907013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844960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316612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55588415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5050907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23566024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1753916036"/>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402859872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9126869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396158924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13787666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425969790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2" name="Rectangle 1">
            <a:extLst>
              <a:ext uri="{FF2B5EF4-FFF2-40B4-BE49-F238E27FC236}">
                <a16:creationId xmlns:a16="http://schemas.microsoft.com/office/drawing/2014/main" id="{B79787D5-990C-11F9-639C-D6B95EAD01B0}"/>
              </a:ext>
            </a:extLst>
          </p:cNvPr>
          <p:cNvSpPr/>
          <p:nvPr userDrawn="1"/>
        </p:nvSpPr>
        <p:spPr>
          <a:xfrm>
            <a:off x="8212348" y="6516148"/>
            <a:ext cx="560439" cy="190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812309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28951061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40035774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8254254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08327910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1962115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48877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7833874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5533917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8459575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3092560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7553326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672943339"/>
      </p:ext>
    </p:extLst>
  </p:cSld>
  <p:clrMapOvr>
    <a:overrideClrMapping bg1="lt1" tx1="dk1" bg2="lt2" tx2="dk2" accent1="accent1" accent2="accent2" accent3="accent3" accent4="accent4" accent5="accent5" accent6="accent6" hlink="lt1" folHlink="lt1"/>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52168095"/>
      </p:ext>
    </p:extLst>
  </p:cSld>
  <p:clrMapOvr>
    <a:overrideClrMapping bg1="lt1" tx1="dk1" bg2="lt2" tx2="dk2" accent1="accent1" accent2="accent2" accent3="accent3" accent4="accent4" accent5="accent5" accent6="accent6" hlink="lt1" folHlink="lt1"/>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7860413"/>
      </p:ext>
    </p:extLst>
  </p:cSld>
  <p:clrMapOvr>
    <a:overrideClrMapping bg1="lt1" tx1="dk1" bg2="lt2" tx2="dk2" accent1="accent1" accent2="accent2" accent3="accent3" accent4="accent4" accent5="accent5" accent6="accent6" hlink="lt1" folHlink="lt1"/>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1069486126"/>
      </p:ext>
    </p:extLst>
  </p:cSld>
  <p:clrMapOvr>
    <a:overrideClrMapping bg1="lt1" tx1="dk1" bg2="lt2" tx2="dk2" accent1="accent1" accent2="accent2" accent3="accent3" accent4="accent4" accent5="accent5" accent6="accent6" hlink="lt1" folHlink="lt1"/>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252523153"/>
      </p:ext>
    </p:extLst>
  </p:cSld>
  <p:clrMapOvr>
    <a:overrideClrMapping bg1="lt1" tx1="dk1" bg2="lt2" tx2="dk2" accent1="accent1" accent2="accent2" accent3="accent3" accent4="accent4" accent5="accent5" accent6="accent6" hlink="lt1" folHlink="lt1"/>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688336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9141331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0325131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2570819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0953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4684577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461471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541636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50190775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70717110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94027656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170960010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56668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775234460"/>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977033179"/>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6832254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18295355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374519086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3384103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00650011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0910588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8288752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39272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421351831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15879037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608760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95753378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5356716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68340375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091973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31424995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3683306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24351817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3578588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561716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393027098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7969043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989008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2453123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103096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2314525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325255868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253982075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201397167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165242985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2600101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3770951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58130546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368902574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95585880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5260682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71003530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377906819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4001370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5027089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62901887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07242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36624548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7236577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53759662"/>
      </p:ext>
    </p:extLst>
  </p:cSld>
  <p:clrMapOvr>
    <a:overrideClrMapping bg1="lt1" tx1="dk1" bg2="lt2" tx2="dk2" accent1="accent1" accent2="accent2" accent3="accent3" accent4="accent4" accent5="accent5" accent6="accent6" hlink="lt1" folHlink="lt1"/>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71392626"/>
      </p:ext>
    </p:extLst>
  </p:cSld>
  <p:clrMapOvr>
    <a:overrideClrMapping bg1="lt1" tx1="dk1" bg2="lt2" tx2="dk2" accent1="accent1" accent2="accent2" accent3="accent3" accent4="accent4" accent5="accent5" accent6="accent6" hlink="lt1" folHlink="lt1"/>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51538607"/>
      </p:ext>
    </p:extLst>
  </p:cSld>
  <p:clrMapOvr>
    <a:overrideClrMapping bg1="lt1" tx1="dk1" bg2="lt2" tx2="dk2" accent1="accent1" accent2="accent2" accent3="accent3" accent4="accent4" accent5="accent5" accent6="accent6" hlink="lt1" folHlink="lt1"/>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1027473205"/>
      </p:ext>
    </p:extLst>
  </p:cSld>
  <p:clrMapOvr>
    <a:overrideClrMapping bg1="lt1" tx1="dk1" bg2="lt2" tx2="dk2" accent1="accent1" accent2="accent2" accent3="accent3" accent4="accent4" accent5="accent5" accent6="accent6" hlink="lt1" folHlink="lt1"/>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647549002"/>
      </p:ext>
    </p:extLst>
  </p:cSld>
  <p:clrMapOvr>
    <a:overrideClrMapping bg1="lt1" tx1="dk1" bg2="lt2" tx2="dk2" accent1="accent1" accent2="accent2" accent3="accent3" accent4="accent4" accent5="accent5" accent6="accent6" hlink="lt1" folHlink="lt1"/>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2630236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9984191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5651801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6397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84719804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9250014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504316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043782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ext Placeholder 18"/>
          <p:cNvSpPr>
            <a:spLocks noGrp="1"/>
          </p:cNvSpPr>
          <p:nvPr>
            <p:ph type="body" sz="quarter" idx="14" hasCustomPrompt="1"/>
          </p:nvPr>
        </p:nvSpPr>
        <p:spPr>
          <a:xfrm>
            <a:off x="457200" y="1557233"/>
            <a:ext cx="7886700" cy="362973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charset="0"/>
              <a:buChar char="•"/>
              <a:tabLst/>
              <a:defRPr sz="1600" b="0" i="0" baseline="0">
                <a:solidFill>
                  <a:schemeClr val="tx1"/>
                </a:solidFill>
                <a:latin typeface="Arial" charset="0"/>
                <a:ea typeface="Arial" charset="0"/>
                <a:cs typeface="Arial" charset="0"/>
              </a:defRPr>
            </a:lvl1pPr>
            <a:lvl2pPr marL="457200" marR="0" indent="0" algn="l" defTabSz="914400" rtl="0" eaLnBrk="1" fontAlgn="auto" latinLnBrk="0" hangingPunct="1">
              <a:lnSpc>
                <a:spcPct val="90000"/>
              </a:lnSpc>
              <a:spcBef>
                <a:spcPts val="1000"/>
              </a:spcBef>
              <a:spcAft>
                <a:spcPts val="0"/>
              </a:spcAft>
              <a:buClrTx/>
              <a:buSzTx/>
              <a:buFont typeface="Arial"/>
              <a:buNone/>
              <a:tabLst/>
              <a:defRPr sz="1600">
                <a:latin typeface="Arial" charset="0"/>
                <a:ea typeface="Arial" charset="0"/>
                <a:cs typeface="Arial" charset="0"/>
              </a:defRPr>
            </a:lvl2pPr>
            <a:lvl3pPr marL="1143000" marR="0" indent="-228600" algn="l" defTabSz="914400" rtl="0" eaLnBrk="1" fontAlgn="auto" latinLnBrk="0" hangingPunct="1">
              <a:lnSpc>
                <a:spcPct val="90000"/>
              </a:lnSpc>
              <a:spcBef>
                <a:spcPts val="1000"/>
              </a:spcBef>
              <a:spcAft>
                <a:spcPts val="0"/>
              </a:spcAft>
              <a:buClrTx/>
              <a:buSzTx/>
              <a:buFont typeface="Arial"/>
              <a:buChar char="•"/>
              <a:tabLst/>
              <a:defRPr sz="1200" baseline="0">
                <a:latin typeface="Arial" charset="0"/>
                <a:ea typeface="Arial" charset="0"/>
                <a:cs typeface="Arial" charset="0"/>
              </a:defRPr>
            </a:lvl3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Click to edit bullet text. Font: Arial 16pt. Bullets should always be round. Do not end bullets with a period</a:t>
            </a:r>
          </a:p>
          <a:p>
            <a:pPr marL="228600" marR="0" lvl="0" indent="-228600" algn="l" defTabSz="914400" rtl="0" eaLnBrk="1" fontAlgn="auto" latinLnBrk="0" hangingPunct="1">
              <a:lnSpc>
                <a:spcPct val="90000"/>
              </a:lnSpc>
              <a:spcBef>
                <a:spcPts val="1000"/>
              </a:spcBef>
              <a:spcAft>
                <a:spcPts val="0"/>
              </a:spcAft>
              <a:buClrTx/>
              <a:buSzTx/>
              <a:buFont typeface="Arial" charset="0"/>
              <a:buChar char="•"/>
              <a:tabLst/>
              <a:defRPr/>
            </a:pPr>
            <a:r>
              <a:rPr lang="en-US"/>
              <a:t>Click to edit bullet text. Font: Arial 16pt. Bullets should always be round. Do not end bullets with a period</a:t>
            </a:r>
          </a:p>
          <a:p>
            <a:pPr marL="228600" marR="0" lvl="0" indent="-228600" algn="l" defTabSz="914400" rtl="0" eaLnBrk="1" fontAlgn="auto" latinLnBrk="0" hangingPunct="1">
              <a:lnSpc>
                <a:spcPct val="90000"/>
              </a:lnSpc>
              <a:spcBef>
                <a:spcPts val="1000"/>
              </a:spcBef>
              <a:spcAft>
                <a:spcPts val="0"/>
              </a:spcAft>
              <a:buClrTx/>
              <a:buSzTx/>
              <a:buFont typeface="Arial" charset="0"/>
              <a:buChar char="•"/>
              <a:tabLst/>
              <a:defRPr/>
            </a:pPr>
            <a:r>
              <a:rPr lang="en-US"/>
              <a:t>Click to edit bullet text. Font: Arial 16pt. Bullets should always be round. Do not end bullets with a period</a:t>
            </a:r>
          </a:p>
          <a:p>
            <a:pPr marL="685800" marR="0" lvl="1" indent="-228600" algn="l" defTabSz="914400" rtl="0" eaLnBrk="1" fontAlgn="auto" latinLnBrk="0" hangingPunct="1">
              <a:lnSpc>
                <a:spcPct val="90000"/>
              </a:lnSpc>
              <a:spcBef>
                <a:spcPts val="1000"/>
              </a:spcBef>
              <a:spcAft>
                <a:spcPts val="0"/>
              </a:spcAft>
              <a:buClrTx/>
              <a:buSzTx/>
              <a:buFont typeface="Arial" charset="0"/>
              <a:buChar char="•"/>
              <a:tabLst/>
              <a:defRPr/>
            </a:pPr>
            <a:r>
              <a:rPr lang="en-US"/>
              <a:t>Click to edit bullet text. Press tab to indent the bullet. Font: Arial 16pt. Bullets should always be round. Do not end bullets with a period</a:t>
            </a:r>
          </a:p>
        </p:txBody>
      </p:sp>
      <p:sp>
        <p:nvSpPr>
          <p:cNvPr id="9" name="Title 1"/>
          <p:cNvSpPr>
            <a:spLocks noGrp="1"/>
          </p:cNvSpPr>
          <p:nvPr>
            <p:ph type="title" hasCustomPrompt="1"/>
          </p:nvPr>
        </p:nvSpPr>
        <p:spPr>
          <a:xfrm>
            <a:off x="457200" y="365127"/>
            <a:ext cx="7886700" cy="609234"/>
          </a:xfrm>
          <a:prstGeom prst="rect">
            <a:avLst/>
          </a:prstGeom>
        </p:spPr>
        <p:txBody>
          <a:bodyPr>
            <a:noAutofit/>
          </a:bodyPr>
          <a:lstStyle>
            <a:lvl1pPr>
              <a:defRPr sz="1900" b="1" i="0">
                <a:solidFill>
                  <a:srgbClr val="003764"/>
                </a:solidFill>
                <a:latin typeface="Arial" charset="0"/>
                <a:ea typeface="Arial" charset="0"/>
                <a:cs typeface="Arial" charset="0"/>
              </a:defRPr>
            </a:lvl1pPr>
          </a:lstStyle>
          <a:p>
            <a:r>
              <a:rPr lang="en-US"/>
              <a:t>CLICK TO EDIT SLIDE TITLE. FONT: ARIAL BOLD 19PT. </a:t>
            </a:r>
            <a:br>
              <a:rPr lang="en-US"/>
            </a:br>
            <a:r>
              <a:rPr lang="en-US"/>
              <a:t>ALL CAPS. TWO LINES ONLY.</a:t>
            </a:r>
          </a:p>
        </p:txBody>
      </p:sp>
      <p:sp>
        <p:nvSpPr>
          <p:cNvPr id="8" name="Text Placeholder 7"/>
          <p:cNvSpPr>
            <a:spLocks noGrp="1"/>
          </p:cNvSpPr>
          <p:nvPr>
            <p:ph type="body" sz="quarter" idx="18" hasCustomPrompt="1"/>
          </p:nvPr>
        </p:nvSpPr>
        <p:spPr>
          <a:xfrm>
            <a:off x="457200" y="6148530"/>
            <a:ext cx="6956373" cy="400114"/>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baseline="30000"/>
              <a:t>1 </a:t>
            </a:r>
            <a:r>
              <a:rPr lang="en-US"/>
              <a:t>Footnote: Text, Regular, Font Size 7 Pt, One line for each</a:t>
            </a:r>
            <a:br>
              <a:rPr lang="en-US"/>
            </a:br>
            <a:r>
              <a:rPr lang="en-US" baseline="30000"/>
              <a:t>2 </a:t>
            </a:r>
            <a:r>
              <a:rPr lang="en-US"/>
              <a:t>Footnote: Text, Regular, Font Size 7 Pt, One line for each</a:t>
            </a:r>
            <a:br>
              <a:rPr lang="en-US"/>
            </a:br>
            <a:r>
              <a:rPr lang="en-US" baseline="30000"/>
              <a:t>3 </a:t>
            </a:r>
            <a:r>
              <a:rPr lang="en-US"/>
              <a:t>Footnote: Text, Regular, Font Size 7 Pt, One line for each</a:t>
            </a:r>
          </a:p>
        </p:txBody>
      </p:sp>
      <p:sp>
        <p:nvSpPr>
          <p:cNvPr id="12" name="Text Placeholder 7"/>
          <p:cNvSpPr>
            <a:spLocks noGrp="1"/>
          </p:cNvSpPr>
          <p:nvPr>
            <p:ph type="body" sz="quarter" idx="19" hasCustomPrompt="1"/>
          </p:nvPr>
        </p:nvSpPr>
        <p:spPr>
          <a:xfrm>
            <a:off x="457200" y="6588198"/>
            <a:ext cx="6956373" cy="269802"/>
          </a:xfrm>
          <a:prstGeom prst="rect">
            <a:avLst/>
          </a:prstGeom>
        </p:spPr>
        <p:txBody>
          <a:bodyPr vert="horz">
            <a:normAutofit lnSpcReduction="10000"/>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700" b="0" i="0" baseline="0">
                <a:solidFill>
                  <a:schemeClr val="tx1"/>
                </a:solidFill>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a:t>Source: Source Text, Italics, Font Size 7 Pt, One line each</a:t>
            </a:r>
          </a:p>
        </p:txBody>
      </p:sp>
      <p:sp>
        <p:nvSpPr>
          <p:cNvPr id="10" name="Text Placeholder 20"/>
          <p:cNvSpPr>
            <a:spLocks noGrp="1"/>
          </p:cNvSpPr>
          <p:nvPr>
            <p:ph type="body" sz="quarter" idx="15" hasCustomPrompt="1"/>
          </p:nvPr>
        </p:nvSpPr>
        <p:spPr>
          <a:xfrm>
            <a:off x="457200" y="1234970"/>
            <a:ext cx="7886700" cy="322263"/>
          </a:xfrm>
          <a:prstGeom prst="rect">
            <a:avLst/>
          </a:prstGeom>
          <a:noFill/>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1" i="0" u="none" baseline="0">
                <a:solidFill>
                  <a:srgbClr val="003765"/>
                </a:solidFill>
                <a:latin typeface="Arial" charset="0"/>
                <a:ea typeface="Arial" charset="0"/>
                <a:cs typeface="Arial"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Intro. Font: Arial Bold 16pt. One Line Only.</a:t>
            </a:r>
          </a:p>
        </p:txBody>
      </p:sp>
    </p:spTree>
    <p:extLst>
      <p:ext uri="{BB962C8B-B14F-4D97-AF65-F5344CB8AC3E}">
        <p14:creationId xmlns:p14="http://schemas.microsoft.com/office/powerpoint/2010/main" val="112648482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9600498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288379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90425231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4043679295"/>
      </p:ext>
    </p:extLst>
  </p:cSld>
  <p:clrMapOvr>
    <a:masterClrMapping/>
  </p:clrMapOvr>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686167745"/>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116620813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2" name="Rectangle 1">
            <a:extLst>
              <a:ext uri="{FF2B5EF4-FFF2-40B4-BE49-F238E27FC236}">
                <a16:creationId xmlns:a16="http://schemas.microsoft.com/office/drawing/2014/main" id="{6502A3A8-CCFC-BBF8-C67C-0E97F147474C}"/>
              </a:ext>
            </a:extLst>
          </p:cNvPr>
          <p:cNvSpPr/>
          <p:nvPr userDrawn="1"/>
        </p:nvSpPr>
        <p:spPr>
          <a:xfrm>
            <a:off x="8160590" y="6516148"/>
            <a:ext cx="612195" cy="190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702490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401281513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07723342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57599794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0220007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91485864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3298970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42331222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99002852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3244210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0758921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17209002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73525861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29362118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27893193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302493860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79524308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1730018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8551657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3995329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44491230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8753006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48951430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4932225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19056403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98064601"/>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293396901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29935494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71588761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21814304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147366775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254940257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8790519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412392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367223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0156239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48542345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236748083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8442082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3460609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324415252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4801727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5759834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78824309"/>
      </p:ext>
    </p:extLst>
  </p:cSld>
  <p:clrMapOvr>
    <a:overrideClrMapping bg1="lt1" tx1="dk1" bg2="lt2" tx2="dk2" accent1="accent1" accent2="accent2" accent3="accent3" accent4="accent4" accent5="accent5" accent6="accent6" hlink="lt1" folHlink="lt1"/>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5970581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23435041"/>
      </p:ext>
    </p:extLst>
  </p:cSld>
  <p:clrMapOvr>
    <a:overrideClrMapping bg1="lt1" tx1="dk1" bg2="lt2" tx2="dk2" accent1="accent1" accent2="accent2" accent3="accent3" accent4="accent4" accent5="accent5" accent6="accent6" hlink="lt1" folHlink="lt1"/>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4038368"/>
      </p:ext>
    </p:extLst>
  </p:cSld>
  <p:clrMapOvr>
    <a:overrideClrMapping bg1="lt1" tx1="dk1" bg2="lt2" tx2="dk2" accent1="accent1" accent2="accent2" accent3="accent3" accent4="accent4" accent5="accent5" accent6="accent6" hlink="lt1" folHlink="lt1"/>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440197434"/>
      </p:ext>
    </p:extLst>
  </p:cSld>
  <p:clrMapOvr>
    <a:overrideClrMapping bg1="lt1" tx1="dk1" bg2="lt2" tx2="dk2" accent1="accent1" accent2="accent2" accent3="accent3" accent4="accent4" accent5="accent5" accent6="accent6" hlink="lt1" folHlink="lt1"/>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84907975"/>
      </p:ext>
    </p:extLst>
  </p:cSld>
  <p:clrMapOvr>
    <a:overrideClrMapping bg1="lt1" tx1="dk1" bg2="lt2" tx2="dk2" accent1="accent1" accent2="accent2" accent3="accent3" accent4="accent4" accent5="accent5" accent6="accent6" hlink="lt1" folHlink="lt1"/>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055660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1289536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2772801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095441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7215300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1111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5139025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244814792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97495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373173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30756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9158177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80017FBF-C159-274E-A045-C7FE28DD4891}"/>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44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94D0CDE4-38A0-8B46-802A-EFEB782422E0}"/>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148CB54C-821A-5D43-9B80-B00746C05FDA}"/>
                  </a:ext>
                </a:extLst>
              </p:cNvPr>
              <p:cNvSpPr txBox="1"/>
              <p:nvPr/>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EF7C1405-EF07-DF44-B3F2-FD2C93E0BA8B}"/>
                  </a:ext>
                </a:extLst>
              </p:cNvPr>
              <p:cNvSpPr txBox="1"/>
              <p:nvPr/>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p:ph type="sldNum" sz="quarter" idx="18"/>
          </p:nvPr>
        </p:nvSpPr>
        <p:spPr>
          <a:noFill/>
        </p:spPr>
        <p:txBody>
          <a:bodyPr/>
          <a:lstStyle>
            <a:lvl1pPr>
              <a:defRPr>
                <a:solidFill>
                  <a:schemeClr val="bg1"/>
                </a:solidFill>
                <a:latin typeface="Verlag Bold" pitchFamily="2" charset="0"/>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0" name="TextBox 99">
                <a:extLst>
                  <a:ext uri="{FF2B5EF4-FFF2-40B4-BE49-F238E27FC236}">
                    <a16:creationId xmlns:a16="http://schemas.microsoft.com/office/drawing/2014/main" id="{4B9BE125-E956-8941-AE3B-AD6895BD1F8B}"/>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9020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4" name="Freeform 23">
            <a:extLst>
              <a:ext uri="{FF2B5EF4-FFF2-40B4-BE49-F238E27FC236}">
                <a16:creationId xmlns:a16="http://schemas.microsoft.com/office/drawing/2014/main" id="{E79AC3E7-6F38-DB4F-A28C-F43DDC379D28}"/>
              </a:ext>
            </a:extLst>
          </p:cNvPr>
          <p:cNvSpPr/>
          <p:nvPr/>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a:extLst>
                <a:ext uri="{FF2B5EF4-FFF2-40B4-BE49-F238E27FC236}">
                  <a16:creationId xmlns:a16="http://schemas.microsoft.com/office/drawing/2014/main" id="{116AC5B1-5C25-304E-951F-89E93B11D04C}"/>
                </a:ext>
              </a:extLst>
            </p:cNvPr>
            <p:cNvSpPr txBox="1"/>
            <p:nvPr/>
          </p:nvSpPr>
          <p:spPr>
            <a:xfrm rot="16200000">
              <a:off x="-297289" y="649201"/>
              <a:ext cx="333247"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EE586C57-8856-BD47-9CD4-B7DE17D313F0}"/>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TextBox 38">
                <a:extLst>
                  <a:ext uri="{FF2B5EF4-FFF2-40B4-BE49-F238E27FC236}">
                    <a16:creationId xmlns:a16="http://schemas.microsoft.com/office/drawing/2014/main" id="{64038C5B-89D1-BD45-9508-F03D30A080FB}"/>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0023617"/>
      </p:ext>
    </p:extLst>
  </p:cSld>
  <p:clrMapOvr>
    <a:overrideClrMapping bg1="lt1" tx1="dk1" bg2="lt2" tx2="dk2" accent1="accent1" accent2="accent2" accent3="accent3" accent4="accent4" accent5="accent5" accent6="accent6" hlink="lt1" folHlink="lt1"/>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a:extLst>
                <a:ext uri="{FF2B5EF4-FFF2-40B4-BE49-F238E27FC236}">
                  <a16:creationId xmlns:a16="http://schemas.microsoft.com/office/drawing/2014/main" id="{6D5BF6DD-76B4-0145-A962-2C82A8F2CC6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509205E5-0F35-EB40-8B2F-8E547892AACD}"/>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BFC01FD0-DC6E-0747-B9A3-3D0A61805785}"/>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501420C3-DFA0-9C4F-813C-BAFA8958E874}"/>
                </a:ext>
              </a:extLst>
            </p:cNvPr>
            <p:cNvSpPr txBox="1"/>
            <p:nvPr/>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15CE3E14-463F-4D4E-B0C6-D4F7A0935AFF}"/>
                </a:ext>
              </a:extLst>
            </p:cNvPr>
            <p:cNvSpPr txBox="1"/>
            <p:nvPr/>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TextBox 80">
                <a:extLst>
                  <a:ext uri="{FF2B5EF4-FFF2-40B4-BE49-F238E27FC236}">
                    <a16:creationId xmlns:a16="http://schemas.microsoft.com/office/drawing/2014/main" id="{52854B52-8256-764E-870F-8B12DFC75805}"/>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93795943"/>
      </p:ext>
    </p:extLst>
  </p:cSld>
  <p:clrMapOvr>
    <a:overrideClrMapping bg1="lt1" tx1="dk1" bg2="lt2" tx2="dk2" accent1="accent1" accent2="accent2" accent3="accent3" accent4="accent4" accent5="accent5" accent6="accent6" hlink="lt1" folHlink="lt1"/>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D9FF21D-3A71-2548-A8D3-8888EABDC88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extLst>
                <a:ext uri="{FF2B5EF4-FFF2-40B4-BE49-F238E27FC236}">
                  <a16:creationId xmlns:a16="http://schemas.microsoft.com/office/drawing/2014/main" id="{8CDD96D5-24AE-C84E-9626-2669E4455CE7}"/>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a:extLst>
                  <a:ext uri="{FF2B5EF4-FFF2-40B4-BE49-F238E27FC236}">
                    <a16:creationId xmlns:a16="http://schemas.microsoft.com/office/drawing/2014/main" id="{5E1F513F-7453-184B-BF9C-0FE3D213F37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a:extLst>
                  <a:ext uri="{FF2B5EF4-FFF2-40B4-BE49-F238E27FC236}">
                    <a16:creationId xmlns:a16="http://schemas.microsoft.com/office/drawing/2014/main" id="{D89DB38A-645F-144A-95C6-B29245BB782C}"/>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1B155C23-A6FC-4149-BF55-6313E95865F9}"/>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EC5F26B-4D18-5442-B88B-C1A3C02042FF}"/>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a:extLst>
                  <a:ext uri="{FF2B5EF4-FFF2-40B4-BE49-F238E27FC236}">
                    <a16:creationId xmlns:a16="http://schemas.microsoft.com/office/drawing/2014/main" id="{D1DED7A1-A6E1-1B4A-B40C-99489D2EB2D3}"/>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52025671"/>
      </p:ext>
    </p:extLst>
  </p:cSld>
  <p:clrMapOvr>
    <a:overrideClrMapping bg1="lt1" tx1="dk1" bg2="lt2" tx2="dk2" accent1="accent1" accent2="accent2" accent3="accent3" accent4="accent4" accent5="accent5" accent6="accent6" hlink="lt1" folHlink="lt1"/>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81EC56EE-E78A-C64C-B03F-9E33CFCFF6FF}"/>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extBox 45">
              <a:extLst>
                <a:ext uri="{FF2B5EF4-FFF2-40B4-BE49-F238E27FC236}">
                  <a16:creationId xmlns:a16="http://schemas.microsoft.com/office/drawing/2014/main" id="{0101D5C1-C72F-4340-96C3-42253FAF2B21}"/>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TextBox 125">
                <a:extLst>
                  <a:ext uri="{FF2B5EF4-FFF2-40B4-BE49-F238E27FC236}">
                    <a16:creationId xmlns:a16="http://schemas.microsoft.com/office/drawing/2014/main" id="{42762588-74B6-AA48-AAEF-8478DA61532A}"/>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a:extLst>
                  <a:ext uri="{FF2B5EF4-FFF2-40B4-BE49-F238E27FC236}">
                    <a16:creationId xmlns:a16="http://schemas.microsoft.com/office/drawing/2014/main" id="{0B1CE189-800B-DB49-86F8-D1D7860D619D}"/>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TextBox 167">
                <a:extLst>
                  <a:ext uri="{FF2B5EF4-FFF2-40B4-BE49-F238E27FC236}">
                    <a16:creationId xmlns:a16="http://schemas.microsoft.com/office/drawing/2014/main" id="{ACA5E4FE-97BE-0A4E-9196-292CE279FF5B}"/>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TextBox 162">
                <a:extLst>
                  <a:ext uri="{FF2B5EF4-FFF2-40B4-BE49-F238E27FC236}">
                    <a16:creationId xmlns:a16="http://schemas.microsoft.com/office/drawing/2014/main" id="{EEA5EE72-4CD7-1A46-9DF6-568DC138E4B1}"/>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TextBox 151">
                <a:extLst>
                  <a:ext uri="{FF2B5EF4-FFF2-40B4-BE49-F238E27FC236}">
                    <a16:creationId xmlns:a16="http://schemas.microsoft.com/office/drawing/2014/main" id="{A937AB33-CB8B-A241-9EA4-8CAC5B904E8F}"/>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946423277"/>
      </p:ext>
    </p:extLst>
  </p:cSld>
  <p:clrMapOvr>
    <a:overrideClrMapping bg1="lt1" tx1="dk1" bg2="lt2" tx2="dk2" accent1="accent1" accent2="accent2" accent3="accent3" accent4="accent4" accent5="accent5" accent6="accent6" hlink="lt1" folHlink="lt1"/>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4206997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28F40B88-00B1-E24C-B5AC-F85B614215DD}"/>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TextBox 18">
              <a:extLst>
                <a:ext uri="{FF2B5EF4-FFF2-40B4-BE49-F238E27FC236}">
                  <a16:creationId xmlns:a16="http://schemas.microsoft.com/office/drawing/2014/main" id="{24FF7AC7-18F3-1F4F-ADDF-503169DE7192}"/>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7" name="TextBox 116">
                <a:extLst>
                  <a:ext uri="{FF2B5EF4-FFF2-40B4-BE49-F238E27FC236}">
                    <a16:creationId xmlns:a16="http://schemas.microsoft.com/office/drawing/2014/main" id="{BCAD5F91-0EBA-A346-B9D7-BDF226AC2562}"/>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46F342E6-6D49-BA41-A71D-B2EAF5BB7021}"/>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62F58A85-515C-0644-8065-784967D02301}"/>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TextBox 153">
                <a:extLst>
                  <a:ext uri="{FF2B5EF4-FFF2-40B4-BE49-F238E27FC236}">
                    <a16:creationId xmlns:a16="http://schemas.microsoft.com/office/drawing/2014/main" id="{D8ADA2D6-D5A5-784E-A45D-83532F4E6081}"/>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TextBox 142">
                <a:extLst>
                  <a:ext uri="{FF2B5EF4-FFF2-40B4-BE49-F238E27FC236}">
                    <a16:creationId xmlns:a16="http://schemas.microsoft.com/office/drawing/2014/main" id="{97885988-9EEC-D24A-B627-43F68E16F4BC}"/>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21626931"/>
      </p:ext>
    </p:extLst>
  </p:cSld>
  <p:clrMapOvr>
    <a:overrideClrMapping bg1="lt1" tx1="dk1" bg2="lt2" tx2="dk2" accent1="accent1" accent2="accent2" accent3="accent3" accent4="accent4" accent5="accent5" accent6="accent6" hlink="lt1" folHlink="lt1"/>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D36E3FB2-9D3F-F345-8ABF-49772659DC3C}"/>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0526BF7F-3849-4849-8E5B-701D9AA18384}"/>
                </a:ext>
              </a:extLst>
            </p:cNvPr>
            <p:cNvSpPr txBox="1"/>
            <p:nvPr/>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F6EBC34F-18CE-E54E-9812-7C5701913234}"/>
                </a:ext>
              </a:extLst>
            </p:cNvPr>
            <p:cNvSpPr txBox="1"/>
            <p:nvPr/>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40" name="Rectangle 39">
              <a:extLst>
                <a:ext uri="{FF2B5EF4-FFF2-40B4-BE49-F238E27FC236}">
                  <a16:creationId xmlns:a16="http://schemas.microsoft.com/office/drawing/2014/main" id="{34261B0B-0443-2947-86D5-57D446CA022B}"/>
                </a:ext>
              </a:extLst>
            </p:cNvPr>
            <p:cNvSpPr/>
            <p:nvPr/>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99B54DFE-A2F3-C645-9D97-EECBE782E039}"/>
                </a:ext>
              </a:extLst>
            </p:cNvPr>
            <p:cNvSpPr txBox="1"/>
            <p:nvPr/>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TextBox 87">
                <a:extLst>
                  <a:ext uri="{FF2B5EF4-FFF2-40B4-BE49-F238E27FC236}">
                    <a16:creationId xmlns:a16="http://schemas.microsoft.com/office/drawing/2014/main" id="{BACC31F5-D05D-4A41-B49F-42A54E4620F2}"/>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82120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5FD3FB48-94EB-1B4E-81F7-1FE45EDD3C39}"/>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0169AEC9-5839-9445-8182-C14959A558B4}"/>
                </a:ext>
              </a:extLst>
            </p:cNvPr>
            <p:cNvSpPr txBox="1"/>
            <p:nvPr/>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01F7ED9B-4120-C24F-8900-05688AA058B6}"/>
                </a:ext>
              </a:extLst>
            </p:cNvPr>
            <p:cNvSpPr txBox="1"/>
            <p:nvPr/>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032BB037-EDB0-194D-9E71-040FE1867B64}"/>
                </a:ext>
              </a:extLst>
            </p:cNvPr>
            <p:cNvSpPr/>
            <p:nvPr/>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03EA2B74-83D8-7542-91F6-476FF3AC2DC4}"/>
                </a:ext>
              </a:extLst>
            </p:cNvPr>
            <p:cNvSpPr txBox="1"/>
            <p:nvPr/>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FB57A5FF-FF40-4340-B648-30A3D5237DE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468906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C137DA0-E7A0-8348-964C-0094E9A21AD9}"/>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9CB3988E-1068-5C4E-AA5D-EE2C662EF423}"/>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8A63BD7-75CA-594F-B630-748766ED6BFD}"/>
                </a:ext>
              </a:extLst>
            </p:cNvPr>
            <p:cNvSpPr txBox="1"/>
            <p:nvPr/>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5CED197C-AF58-C44F-A26F-6391B9641BB7}"/>
                </a:ext>
              </a:extLst>
            </p:cNvPr>
            <p:cNvSpPr txBox="1"/>
            <p:nvPr/>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93" name="Rectangle 92">
              <a:extLst>
                <a:ext uri="{FF2B5EF4-FFF2-40B4-BE49-F238E27FC236}">
                  <a16:creationId xmlns:a16="http://schemas.microsoft.com/office/drawing/2014/main" id="{DED3E77A-B95D-0840-B42A-F982154E5F14}"/>
                </a:ext>
              </a:extLst>
            </p:cNvPr>
            <p:cNvSpPr/>
            <p:nvPr/>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4FA6DBF9-F11E-6C44-BE7B-0A7E8F64AA89}"/>
                </a:ext>
              </a:extLst>
            </p:cNvPr>
            <p:cNvSpPr txBox="1"/>
            <p:nvPr/>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8" name="TextBox 107">
                <a:extLst>
                  <a:ext uri="{FF2B5EF4-FFF2-40B4-BE49-F238E27FC236}">
                    <a16:creationId xmlns:a16="http://schemas.microsoft.com/office/drawing/2014/main" id="{92B5BD0C-F803-D94A-A277-DCCF5C956E2D}"/>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5062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CC62A9D-5394-674A-BEAB-97FADBEC0916}"/>
                </a:ext>
              </a:extLst>
            </p:cNvPr>
            <p:cNvSpPr txBox="1"/>
            <p:nvPr/>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5D71E54-D6BA-0E40-A53B-AF7E62071130}"/>
                </a:ext>
              </a:extLst>
            </p:cNvPr>
            <p:cNvSpPr txBox="1"/>
            <p:nvPr/>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a:extLst>
                <a:ext uri="{FF2B5EF4-FFF2-40B4-BE49-F238E27FC236}">
                  <a16:creationId xmlns:a16="http://schemas.microsoft.com/office/drawing/2014/main" id="{45520887-BC9C-114D-AD47-51EA84357B7B}"/>
                </a:ext>
              </a:extLst>
            </p:cNvPr>
            <p:cNvSpPr txBox="1"/>
            <p:nvPr/>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rop the headshots so that they match:</a:t>
              </a:r>
            </a:p>
            <a:p>
              <a:pPr lvl="1"/>
              <a:r>
                <a:rPr lang="en-US"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dirty="0"/>
                <a:t>The entire head is visible</a:t>
              </a:r>
            </a:p>
            <a:p>
              <a:pPr lvl="1"/>
              <a:r>
                <a:rPr lang="en-US" dirty="0"/>
                <a:t>Shoulders are visible</a:t>
              </a:r>
            </a:p>
          </p:txBody>
        </p:sp>
        <p:sp>
          <p:nvSpPr>
            <p:cNvPr id="84" name="Rectangle 83">
              <a:extLst>
                <a:ext uri="{FF2B5EF4-FFF2-40B4-BE49-F238E27FC236}">
                  <a16:creationId xmlns:a16="http://schemas.microsoft.com/office/drawing/2014/main" id="{DE9B88A4-46AB-6C41-B3DF-20247111449B}"/>
                </a:ext>
              </a:extLst>
            </p:cNvPr>
            <p:cNvSpPr/>
            <p:nvPr/>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2D7C5D91-095D-0049-BECC-ACFE7362EAB2}"/>
                </a:ext>
              </a:extLst>
            </p:cNvPr>
            <p:cNvSpPr txBox="1"/>
            <p:nvPr/>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1842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E610496C-239D-1644-8DAD-0730905DFAD3}"/>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A835F353-E20F-7145-A34F-6F386E09121D}"/>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2A420265-8660-8D47-879D-AE5074C73B4B}"/>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extBox 23">
              <a:extLst>
                <a:ext uri="{FF2B5EF4-FFF2-40B4-BE49-F238E27FC236}">
                  <a16:creationId xmlns:a16="http://schemas.microsoft.com/office/drawing/2014/main" id="{CA0BB0B9-B04C-F344-9EAD-266B7195FA13}"/>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TextBox 49">
                <a:extLst>
                  <a:ext uri="{FF2B5EF4-FFF2-40B4-BE49-F238E27FC236}">
                    <a16:creationId xmlns:a16="http://schemas.microsoft.com/office/drawing/2014/main" id="{CECDBD12-780D-2643-8288-D1E6A75E0714}"/>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043886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CD90C0D8-6B9B-C74A-B73B-C80616B60E69}"/>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0851E76E-6C66-8B4B-ADA8-7C90E8F627AA}"/>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BCD5F804-74F2-CA49-8ADB-27B7F888C71C}"/>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1E3E24A5-FDC5-6D40-A181-FE78DC155B43}"/>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53D91C97-69F8-5E4E-9B49-1565A3502855}"/>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45487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172FC0E1-17BD-D74D-8B57-B0DE86A24E8D}"/>
                </a:ext>
              </a:extLst>
            </p:cNvPr>
            <p:cNvSpPr txBox="1"/>
            <p:nvPr/>
          </p:nvSpPr>
          <p:spPr>
            <a:xfrm rot="16200000">
              <a:off x="-338725" y="595340"/>
              <a:ext cx="416114" cy="215444"/>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AB4CB1C9-A8C8-8C4C-9D8F-D9EBB7ADC67E}"/>
                </a:ext>
              </a:extLst>
            </p:cNvPr>
            <p:cNvSpPr txBox="1"/>
            <p:nvPr/>
          </p:nvSpPr>
          <p:spPr>
            <a:xfrm rot="16200000">
              <a:off x="-300948" y="649201"/>
              <a:ext cx="340562"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47">
                <a:extLst>
                  <a:ext uri="{FF2B5EF4-FFF2-40B4-BE49-F238E27FC236}">
                    <a16:creationId xmlns:a16="http://schemas.microsoft.com/office/drawing/2014/main" id="{E5A09468-1709-984C-8EC1-C1F9FFADE57C}"/>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EF3E53F2-95E7-9F47-A4FD-AD7DB6BC66E4}"/>
                  </a:ext>
                </a:extLst>
              </p:cNvPr>
              <p:cNvSpPr txBox="1"/>
              <p:nvPr/>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0B9E3F6-CBF5-F54B-8469-B59DF5B1B45F}"/>
                  </a:ext>
                </a:extLst>
              </p:cNvPr>
              <p:cNvSpPr txBox="1"/>
              <p:nvPr/>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92921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3770075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7017578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1168254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9884777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83500219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48018329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249828132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1332918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9369744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4687179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679614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4417760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54020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4E73969A-3A18-3447-B258-F387FB6CF9F1}"/>
              </a:ext>
            </a:extLst>
          </p:cNvPr>
          <p:cNvGrpSpPr/>
          <p:nvPr/>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8 agenda items and their page numbers. </a:t>
              </a:r>
            </a:p>
            <a:p>
              <a:pPr lvl="2"/>
              <a:r>
                <a:rPr lang="en-US"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TextBox 228">
                  <a:extLst>
                    <a:ext uri="{FF2B5EF4-FFF2-40B4-BE49-F238E27FC236}">
                      <a16:creationId xmlns:a16="http://schemas.microsoft.com/office/drawing/2014/main" id="{A8170A63-20B8-C340-A8F1-D6D360C94661}"/>
                    </a:ext>
                  </a:extLst>
                </p:cNvPr>
                <p:cNvSpPr txBox="1"/>
                <p:nvPr/>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TextBox 235">
                  <a:extLst>
                    <a:ext uri="{FF2B5EF4-FFF2-40B4-BE49-F238E27FC236}">
                      <a16:creationId xmlns:a16="http://schemas.microsoft.com/office/drawing/2014/main" id="{ABB6D0F0-0B4F-694F-B630-8A3236A551BC}"/>
                    </a:ext>
                  </a:extLst>
                </p:cNvPr>
                <p:cNvSpPr txBox="1"/>
                <p:nvPr/>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516308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012615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074710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421631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2646313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17271855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dirty="0"/>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Tree>
    <p:extLst>
      <p:ext uri="{BB962C8B-B14F-4D97-AF65-F5344CB8AC3E}">
        <p14:creationId xmlns:p14="http://schemas.microsoft.com/office/powerpoint/2010/main" val="23447408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8724068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dirty="0"/>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dirty="0"/>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lick the table icon and insert a table with</a:t>
                </a:r>
                <a:br>
                  <a:rPr lang="en-US" dirty="0"/>
                </a:br>
                <a:r>
                  <a:rPr lang="en-US" dirty="0"/>
                  <a:t>1 column and the same number of rows as categories in your chart.</a:t>
                </a:r>
              </a:p>
              <a:p>
                <a:pPr lvl="1"/>
                <a:r>
                  <a:rPr lang="en-US" dirty="0"/>
                  <a:t>In the Table Design tab, choose the</a:t>
                </a:r>
                <a:br>
                  <a:rPr lang="en-US" dirty="0"/>
                </a:br>
                <a:r>
                  <a:rPr lang="en-US"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dirty="0"/>
                  <a:t>Change the text alignment to “Center”</a:t>
                </a:r>
              </a:p>
              <a:p>
                <a:pPr lvl="1"/>
                <a:r>
                  <a:rPr lang="en-US"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35334174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dirty="0"/>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3548457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34626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 name="Group 27">
            <a:extLst>
              <a:ext uri="{FF2B5EF4-FFF2-40B4-BE49-F238E27FC236}">
                <a16:creationId xmlns:a16="http://schemas.microsoft.com/office/drawing/2014/main" id="{5EBA89B3-0596-F74E-9FA2-DC751E0E88E4}"/>
              </a:ext>
            </a:extLst>
          </p:cNvPr>
          <p:cNvGrpSpPr/>
          <p:nvPr/>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dirty="0"/>
                <a:t>Enter up to 14 agenda items and their page numbers. </a:t>
              </a:r>
            </a:p>
            <a:p>
              <a:pPr lvl="2"/>
              <a:r>
                <a:rPr lang="en-US"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70D9BBD7-B8A7-4242-B359-9835E773B97C}"/>
                    </a:ext>
                  </a:extLst>
                </p:cNvPr>
                <p:cNvSpPr txBox="1"/>
                <p:nvPr/>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374FCEAF-1509-4F42-9497-CD879A6A719D}"/>
                    </a:ext>
                  </a:extLst>
                </p:cNvPr>
                <p:cNvSpPr txBox="1"/>
                <p:nvPr/>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8670780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232795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9377938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90477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602549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2552075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7336489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04298319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53817220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 Select and download images from the Marketing Resource Database. </a:t>
                </a:r>
              </a:p>
              <a:p>
                <a:pPr lvl="0"/>
                <a:r>
                  <a:rPr lang="en-US"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358669970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dirty="0"/>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996866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666BA62E-8407-214E-9983-5B95C260B124}"/>
                </a:ext>
              </a:extLst>
            </p:cNvPr>
            <p:cNvSpPr txBox="1"/>
            <p:nvPr/>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Enter agenda items as needed.</a:t>
              </a:r>
            </a:p>
            <a:p>
              <a:pPr lvl="0"/>
              <a:r>
                <a:rPr lang="en-US" dirty="0"/>
                <a:t>Apply the highlight marker to the current agenda item.</a:t>
              </a:r>
            </a:p>
            <a:p>
              <a:pPr lvl="1"/>
              <a:r>
                <a:rPr lang="en-US"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Duplicate the slide to create the</a:t>
                </a:r>
                <a:br>
                  <a:rPr lang="en-US" dirty="0"/>
                </a:br>
                <a:r>
                  <a:rPr lang="en-US" dirty="0"/>
                  <a:t>other section dividers.</a:t>
                </a:r>
              </a:p>
              <a:p>
                <a:pPr lvl="1"/>
                <a:r>
                  <a:rPr lang="en-US" dirty="0"/>
                  <a:t>Use Format Painter to copy the normal style onto the previous highlighted item.</a:t>
                </a:r>
              </a:p>
              <a:p>
                <a:pPr lvl="1"/>
                <a:r>
                  <a:rPr lang="en-US"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TextBox 100">
                  <a:extLst>
                    <a:ext uri="{FF2B5EF4-FFF2-40B4-BE49-F238E27FC236}">
                      <a16:creationId xmlns:a16="http://schemas.microsoft.com/office/drawing/2014/main" id="{324B7A18-40EA-AC4F-814A-1584DE95586F}"/>
                    </a:ext>
                  </a:extLst>
                </p:cNvPr>
                <p:cNvSpPr txBox="1"/>
                <p:nvPr/>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07F080B-FE36-C347-BD87-97C6AD55ADFD}"/>
                    </a:ext>
                  </a:extLst>
                </p:cNvPr>
                <p:cNvSpPr txBox="1"/>
                <p:nvPr/>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22478648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20374605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140773205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491447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7107001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dirty="0"/>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Open the </a:t>
                  </a:r>
                  <a:r>
                    <a:rPr lang="en-US" b="1" dirty="0"/>
                    <a:t>VEDP Template Assets file </a:t>
                  </a:r>
                  <a:r>
                    <a:rPr lang="en-US"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In case of error, return legend entries, data labels, and/or chart formatting by re-applying the current VEDP chart style template.</a:t>
                </a:r>
              </a:p>
              <a:p>
                <a:pPr lvl="1"/>
                <a:r>
                  <a:rPr lang="en-US" dirty="0"/>
                  <a:t>Right-click the chart and choose</a:t>
                </a:r>
                <a:br>
                  <a:rPr lang="en-US" dirty="0"/>
                </a:br>
                <a:r>
                  <a:rPr lang="en-US" dirty="0"/>
                  <a:t>“Change Chart Type”</a:t>
                </a:r>
              </a:p>
              <a:p>
                <a:pPr lvl="1"/>
                <a:r>
                  <a:rPr lang="en-US"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21236976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468359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6172387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35731572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3464164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dirty="0"/>
                    <a:t>Select and download images from the Marketing Resource Database.</a:t>
                  </a:r>
                </a:p>
                <a:p>
                  <a:pPr lvl="0"/>
                  <a:r>
                    <a:rPr lang="en-US"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9145445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slideLayout" Target="../slideLayouts/slideLayout99.xml"/><Relationship Id="rId47" Type="http://schemas.openxmlformats.org/officeDocument/2006/relationships/slideLayout" Target="../slideLayouts/slideLayout104.xml"/><Relationship Id="rId50" Type="http://schemas.openxmlformats.org/officeDocument/2006/relationships/slideLayout" Target="../slideLayouts/slideLayout107.xml"/><Relationship Id="rId55" Type="http://schemas.openxmlformats.org/officeDocument/2006/relationships/slideLayout" Target="../slideLayouts/slideLayout112.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9" Type="http://schemas.openxmlformats.org/officeDocument/2006/relationships/slideLayout" Target="../slideLayouts/slideLayout86.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45" Type="http://schemas.openxmlformats.org/officeDocument/2006/relationships/slideLayout" Target="../slideLayouts/slideLayout102.xml"/><Relationship Id="rId53" Type="http://schemas.openxmlformats.org/officeDocument/2006/relationships/slideLayout" Target="../slideLayouts/slideLayout110.xml"/><Relationship Id="rId58" Type="http://schemas.openxmlformats.org/officeDocument/2006/relationships/theme" Target="../theme/theme2.xml"/><Relationship Id="rId5" Type="http://schemas.openxmlformats.org/officeDocument/2006/relationships/slideLayout" Target="../slideLayouts/slideLayout62.xml"/><Relationship Id="rId61" Type="http://schemas.openxmlformats.org/officeDocument/2006/relationships/oleObject" Target="../embeddings/oleObject3.bin"/><Relationship Id="rId19" Type="http://schemas.openxmlformats.org/officeDocument/2006/relationships/slideLayout" Target="../slideLayouts/slideLayout7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43" Type="http://schemas.openxmlformats.org/officeDocument/2006/relationships/slideLayout" Target="../slideLayouts/slideLayout100.xml"/><Relationship Id="rId48" Type="http://schemas.openxmlformats.org/officeDocument/2006/relationships/slideLayout" Target="../slideLayouts/slideLayout105.xml"/><Relationship Id="rId56" Type="http://schemas.openxmlformats.org/officeDocument/2006/relationships/slideLayout" Target="../slideLayouts/slideLayout113.xml"/><Relationship Id="rId8" Type="http://schemas.openxmlformats.org/officeDocument/2006/relationships/slideLayout" Target="../slideLayouts/slideLayout65.xml"/><Relationship Id="rId51" Type="http://schemas.openxmlformats.org/officeDocument/2006/relationships/slideLayout" Target="../slideLayouts/slideLayout108.xml"/><Relationship Id="rId3" Type="http://schemas.openxmlformats.org/officeDocument/2006/relationships/slideLayout" Target="../slideLayouts/slideLayout60.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46" Type="http://schemas.openxmlformats.org/officeDocument/2006/relationships/slideLayout" Target="../slideLayouts/slideLayout103.xml"/><Relationship Id="rId59" Type="http://schemas.openxmlformats.org/officeDocument/2006/relationships/tags" Target="../tags/tag4.xml"/><Relationship Id="rId20" Type="http://schemas.openxmlformats.org/officeDocument/2006/relationships/slideLayout" Target="../slideLayouts/slideLayout77.xml"/><Relationship Id="rId41" Type="http://schemas.openxmlformats.org/officeDocument/2006/relationships/slideLayout" Target="../slideLayouts/slideLayout98.xml"/><Relationship Id="rId54" Type="http://schemas.openxmlformats.org/officeDocument/2006/relationships/slideLayout" Target="../slideLayouts/slideLayout111.xml"/><Relationship Id="rId62" Type="http://schemas.openxmlformats.org/officeDocument/2006/relationships/image" Target="../media/image2.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49" Type="http://schemas.openxmlformats.org/officeDocument/2006/relationships/slideLayout" Target="../slideLayouts/slideLayout106.xml"/><Relationship Id="rId57" Type="http://schemas.openxmlformats.org/officeDocument/2006/relationships/slideLayout" Target="../slideLayouts/slideLayout114.xml"/><Relationship Id="rId10" Type="http://schemas.openxmlformats.org/officeDocument/2006/relationships/slideLayout" Target="../slideLayouts/slideLayout67.xml"/><Relationship Id="rId31" Type="http://schemas.openxmlformats.org/officeDocument/2006/relationships/slideLayout" Target="../slideLayouts/slideLayout88.xml"/><Relationship Id="rId44" Type="http://schemas.openxmlformats.org/officeDocument/2006/relationships/slideLayout" Target="../slideLayouts/slideLayout101.xml"/><Relationship Id="rId52" Type="http://schemas.openxmlformats.org/officeDocument/2006/relationships/slideLayout" Target="../slideLayouts/slideLayout109.xml"/><Relationship Id="rId60" Type="http://schemas.openxmlformats.org/officeDocument/2006/relationships/image" Target="../media/image1.png"/><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50" Type="http://schemas.openxmlformats.org/officeDocument/2006/relationships/slideLayout" Target="../slideLayouts/slideLayout164.xml"/><Relationship Id="rId55" Type="http://schemas.openxmlformats.org/officeDocument/2006/relationships/slideLayout" Target="../slideLayouts/slideLayout169.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9" Type="http://schemas.openxmlformats.org/officeDocument/2006/relationships/slideLayout" Target="../slideLayouts/slideLayout143.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53" Type="http://schemas.openxmlformats.org/officeDocument/2006/relationships/slideLayout" Target="../slideLayouts/slideLayout167.xml"/><Relationship Id="rId58" Type="http://schemas.openxmlformats.org/officeDocument/2006/relationships/theme" Target="../theme/theme3.xml"/><Relationship Id="rId5" Type="http://schemas.openxmlformats.org/officeDocument/2006/relationships/slideLayout" Target="../slideLayouts/slideLayout119.xml"/><Relationship Id="rId61" Type="http://schemas.openxmlformats.org/officeDocument/2006/relationships/oleObject" Target="../embeddings/oleObject4.bin"/><Relationship Id="rId19" Type="http://schemas.openxmlformats.org/officeDocument/2006/relationships/slideLayout" Target="../slideLayouts/slideLayout13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56" Type="http://schemas.openxmlformats.org/officeDocument/2006/relationships/slideLayout" Target="../slideLayouts/slideLayout170.xml"/><Relationship Id="rId8" Type="http://schemas.openxmlformats.org/officeDocument/2006/relationships/slideLayout" Target="../slideLayouts/slideLayout122.xml"/><Relationship Id="rId51" Type="http://schemas.openxmlformats.org/officeDocument/2006/relationships/slideLayout" Target="../slideLayouts/slideLayout165.xml"/><Relationship Id="rId3" Type="http://schemas.openxmlformats.org/officeDocument/2006/relationships/slideLayout" Target="../slideLayouts/slideLayout117.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59" Type="http://schemas.openxmlformats.org/officeDocument/2006/relationships/tags" Target="../tags/tag5.xml"/><Relationship Id="rId20" Type="http://schemas.openxmlformats.org/officeDocument/2006/relationships/slideLayout" Target="../slideLayouts/slideLayout134.xml"/><Relationship Id="rId41" Type="http://schemas.openxmlformats.org/officeDocument/2006/relationships/slideLayout" Target="../slideLayouts/slideLayout155.xml"/><Relationship Id="rId54" Type="http://schemas.openxmlformats.org/officeDocument/2006/relationships/slideLayout" Target="../slideLayouts/slideLayout168.xml"/><Relationship Id="rId62" Type="http://schemas.openxmlformats.org/officeDocument/2006/relationships/image" Target="../media/image2.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57" Type="http://schemas.openxmlformats.org/officeDocument/2006/relationships/slideLayout" Target="../slideLayouts/slideLayout171.xml"/><Relationship Id="rId10" Type="http://schemas.openxmlformats.org/officeDocument/2006/relationships/slideLayout" Target="../slideLayouts/slideLayout124.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60" Type="http://schemas.openxmlformats.org/officeDocument/2006/relationships/image" Target="../media/image1.png"/><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9" Type="http://schemas.openxmlformats.org/officeDocument/2006/relationships/slideLayout" Target="../slideLayouts/slideLayout210.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9" Type="http://schemas.openxmlformats.org/officeDocument/2006/relationships/slideLayout" Target="../slideLayouts/slideLayout200.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theme" Target="../theme/theme4.xml"/><Relationship Id="rId5" Type="http://schemas.openxmlformats.org/officeDocument/2006/relationships/slideLayout" Target="../slideLayouts/slideLayout176.xml"/><Relationship Id="rId61" Type="http://schemas.openxmlformats.org/officeDocument/2006/relationships/oleObject" Target="../embeddings/oleObject5.bin"/><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tags" Target="../tags/tag6.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image" Target="../media/image2.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image" Target="../media/image1.png"/><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slideLayout" Target="../slideLayouts/slideLayout254.xml"/><Relationship Id="rId39" Type="http://schemas.openxmlformats.org/officeDocument/2006/relationships/slideLayout" Target="../slideLayouts/slideLayout267.xml"/><Relationship Id="rId21" Type="http://schemas.openxmlformats.org/officeDocument/2006/relationships/slideLayout" Target="../slideLayouts/slideLayout249.xml"/><Relationship Id="rId34" Type="http://schemas.openxmlformats.org/officeDocument/2006/relationships/slideLayout" Target="../slideLayouts/slideLayout262.xml"/><Relationship Id="rId42" Type="http://schemas.openxmlformats.org/officeDocument/2006/relationships/slideLayout" Target="../slideLayouts/slideLayout270.xml"/><Relationship Id="rId47" Type="http://schemas.openxmlformats.org/officeDocument/2006/relationships/slideLayout" Target="../slideLayouts/slideLayout275.xml"/><Relationship Id="rId50" Type="http://schemas.openxmlformats.org/officeDocument/2006/relationships/slideLayout" Target="../slideLayouts/slideLayout278.xml"/><Relationship Id="rId55" Type="http://schemas.openxmlformats.org/officeDocument/2006/relationships/slideLayout" Target="../slideLayouts/slideLayout283.xml"/><Relationship Id="rId7" Type="http://schemas.openxmlformats.org/officeDocument/2006/relationships/slideLayout" Target="../slideLayouts/slideLayout23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9" Type="http://schemas.openxmlformats.org/officeDocument/2006/relationships/slideLayout" Target="../slideLayouts/slideLayout257.xml"/><Relationship Id="rId11" Type="http://schemas.openxmlformats.org/officeDocument/2006/relationships/slideLayout" Target="../slideLayouts/slideLayout239.xml"/><Relationship Id="rId24" Type="http://schemas.openxmlformats.org/officeDocument/2006/relationships/slideLayout" Target="../slideLayouts/slideLayout252.xml"/><Relationship Id="rId32" Type="http://schemas.openxmlformats.org/officeDocument/2006/relationships/slideLayout" Target="../slideLayouts/slideLayout260.xml"/><Relationship Id="rId37" Type="http://schemas.openxmlformats.org/officeDocument/2006/relationships/slideLayout" Target="../slideLayouts/slideLayout265.xml"/><Relationship Id="rId40" Type="http://schemas.openxmlformats.org/officeDocument/2006/relationships/slideLayout" Target="../slideLayouts/slideLayout268.xml"/><Relationship Id="rId45" Type="http://schemas.openxmlformats.org/officeDocument/2006/relationships/slideLayout" Target="../slideLayouts/slideLayout273.xml"/><Relationship Id="rId53" Type="http://schemas.openxmlformats.org/officeDocument/2006/relationships/slideLayout" Target="../slideLayouts/slideLayout281.xml"/><Relationship Id="rId58" Type="http://schemas.openxmlformats.org/officeDocument/2006/relationships/theme" Target="../theme/theme5.xml"/><Relationship Id="rId5" Type="http://schemas.openxmlformats.org/officeDocument/2006/relationships/slideLayout" Target="../slideLayouts/slideLayout233.xml"/><Relationship Id="rId61" Type="http://schemas.openxmlformats.org/officeDocument/2006/relationships/oleObject" Target="../embeddings/oleObject6.bin"/><Relationship Id="rId19" Type="http://schemas.openxmlformats.org/officeDocument/2006/relationships/slideLayout" Target="../slideLayouts/slideLayout24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slideLayout" Target="../slideLayouts/slideLayout255.xml"/><Relationship Id="rId30" Type="http://schemas.openxmlformats.org/officeDocument/2006/relationships/slideLayout" Target="../slideLayouts/slideLayout258.xml"/><Relationship Id="rId35" Type="http://schemas.openxmlformats.org/officeDocument/2006/relationships/slideLayout" Target="../slideLayouts/slideLayout263.xml"/><Relationship Id="rId43" Type="http://schemas.openxmlformats.org/officeDocument/2006/relationships/slideLayout" Target="../slideLayouts/slideLayout271.xml"/><Relationship Id="rId48" Type="http://schemas.openxmlformats.org/officeDocument/2006/relationships/slideLayout" Target="../slideLayouts/slideLayout276.xml"/><Relationship Id="rId56" Type="http://schemas.openxmlformats.org/officeDocument/2006/relationships/slideLayout" Target="../slideLayouts/slideLayout284.xml"/><Relationship Id="rId8" Type="http://schemas.openxmlformats.org/officeDocument/2006/relationships/slideLayout" Target="../slideLayouts/slideLayout236.xml"/><Relationship Id="rId51" Type="http://schemas.openxmlformats.org/officeDocument/2006/relationships/slideLayout" Target="../slideLayouts/slideLayout279.xml"/><Relationship Id="rId3" Type="http://schemas.openxmlformats.org/officeDocument/2006/relationships/slideLayout" Target="../slideLayouts/slideLayout231.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33" Type="http://schemas.openxmlformats.org/officeDocument/2006/relationships/slideLayout" Target="../slideLayouts/slideLayout261.xml"/><Relationship Id="rId38" Type="http://schemas.openxmlformats.org/officeDocument/2006/relationships/slideLayout" Target="../slideLayouts/slideLayout266.xml"/><Relationship Id="rId46" Type="http://schemas.openxmlformats.org/officeDocument/2006/relationships/slideLayout" Target="../slideLayouts/slideLayout274.xml"/><Relationship Id="rId59" Type="http://schemas.openxmlformats.org/officeDocument/2006/relationships/tags" Target="../tags/tag7.xml"/><Relationship Id="rId20" Type="http://schemas.openxmlformats.org/officeDocument/2006/relationships/slideLayout" Target="../slideLayouts/slideLayout248.xml"/><Relationship Id="rId41" Type="http://schemas.openxmlformats.org/officeDocument/2006/relationships/slideLayout" Target="../slideLayouts/slideLayout269.xml"/><Relationship Id="rId54" Type="http://schemas.openxmlformats.org/officeDocument/2006/relationships/slideLayout" Target="../slideLayouts/slideLayout282.xml"/><Relationship Id="rId62" Type="http://schemas.openxmlformats.org/officeDocument/2006/relationships/image" Target="../media/image2.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slideLayout" Target="../slideLayouts/slideLayout256.xml"/><Relationship Id="rId36" Type="http://schemas.openxmlformats.org/officeDocument/2006/relationships/slideLayout" Target="../slideLayouts/slideLayout264.xml"/><Relationship Id="rId49" Type="http://schemas.openxmlformats.org/officeDocument/2006/relationships/slideLayout" Target="../slideLayouts/slideLayout277.xml"/><Relationship Id="rId57" Type="http://schemas.openxmlformats.org/officeDocument/2006/relationships/slideLayout" Target="../slideLayouts/slideLayout285.xml"/><Relationship Id="rId10" Type="http://schemas.openxmlformats.org/officeDocument/2006/relationships/slideLayout" Target="../slideLayouts/slideLayout238.xml"/><Relationship Id="rId31" Type="http://schemas.openxmlformats.org/officeDocument/2006/relationships/slideLayout" Target="../slideLayouts/slideLayout259.xml"/><Relationship Id="rId44" Type="http://schemas.openxmlformats.org/officeDocument/2006/relationships/slideLayout" Target="../slideLayouts/slideLayout272.xml"/><Relationship Id="rId52" Type="http://schemas.openxmlformats.org/officeDocument/2006/relationships/slideLayout" Target="../slideLayouts/slideLayout280.xml"/><Relationship Id="rId60" Type="http://schemas.openxmlformats.org/officeDocument/2006/relationships/image" Target="../media/image1.png"/><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slideLayout" Target="../slideLayouts/slideLayout311.xml"/><Relationship Id="rId39" Type="http://schemas.openxmlformats.org/officeDocument/2006/relationships/slideLayout" Target="../slideLayouts/slideLayout324.xml"/><Relationship Id="rId21" Type="http://schemas.openxmlformats.org/officeDocument/2006/relationships/slideLayout" Target="../slideLayouts/slideLayout306.xml"/><Relationship Id="rId34" Type="http://schemas.openxmlformats.org/officeDocument/2006/relationships/slideLayout" Target="../slideLayouts/slideLayout319.xml"/><Relationship Id="rId42" Type="http://schemas.openxmlformats.org/officeDocument/2006/relationships/slideLayout" Target="../slideLayouts/slideLayout327.xml"/><Relationship Id="rId47" Type="http://schemas.openxmlformats.org/officeDocument/2006/relationships/slideLayout" Target="../slideLayouts/slideLayout332.xml"/><Relationship Id="rId50" Type="http://schemas.openxmlformats.org/officeDocument/2006/relationships/slideLayout" Target="../slideLayouts/slideLayout335.xml"/><Relationship Id="rId55" Type="http://schemas.openxmlformats.org/officeDocument/2006/relationships/slideLayout" Target="../slideLayouts/slideLayout340.xml"/><Relationship Id="rId63" Type="http://schemas.openxmlformats.org/officeDocument/2006/relationships/image" Target="../media/image2.emf"/><Relationship Id="rId7" Type="http://schemas.openxmlformats.org/officeDocument/2006/relationships/slideLayout" Target="../slideLayouts/slideLayout292.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9" Type="http://schemas.openxmlformats.org/officeDocument/2006/relationships/slideLayout" Target="../slideLayouts/slideLayout314.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32" Type="http://schemas.openxmlformats.org/officeDocument/2006/relationships/slideLayout" Target="../slideLayouts/slideLayout317.xml"/><Relationship Id="rId37" Type="http://schemas.openxmlformats.org/officeDocument/2006/relationships/slideLayout" Target="../slideLayouts/slideLayout322.xml"/><Relationship Id="rId40" Type="http://schemas.openxmlformats.org/officeDocument/2006/relationships/slideLayout" Target="../slideLayouts/slideLayout325.xml"/><Relationship Id="rId45" Type="http://schemas.openxmlformats.org/officeDocument/2006/relationships/slideLayout" Target="../slideLayouts/slideLayout330.xml"/><Relationship Id="rId53" Type="http://schemas.openxmlformats.org/officeDocument/2006/relationships/slideLayout" Target="../slideLayouts/slideLayout338.xml"/><Relationship Id="rId58" Type="http://schemas.openxmlformats.org/officeDocument/2006/relationships/slideLayout" Target="../slideLayouts/slideLayout343.xml"/><Relationship Id="rId5" Type="http://schemas.openxmlformats.org/officeDocument/2006/relationships/slideLayout" Target="../slideLayouts/slideLayout290.xml"/><Relationship Id="rId61" Type="http://schemas.openxmlformats.org/officeDocument/2006/relationships/image" Target="../media/image1.png"/><Relationship Id="rId19" Type="http://schemas.openxmlformats.org/officeDocument/2006/relationships/slideLayout" Target="../slideLayouts/slideLayout30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slideLayout" Target="../slideLayouts/slideLayout312.xml"/><Relationship Id="rId30" Type="http://schemas.openxmlformats.org/officeDocument/2006/relationships/slideLayout" Target="../slideLayouts/slideLayout315.xml"/><Relationship Id="rId35" Type="http://schemas.openxmlformats.org/officeDocument/2006/relationships/slideLayout" Target="../slideLayouts/slideLayout320.xml"/><Relationship Id="rId43" Type="http://schemas.openxmlformats.org/officeDocument/2006/relationships/slideLayout" Target="../slideLayouts/slideLayout328.xml"/><Relationship Id="rId48" Type="http://schemas.openxmlformats.org/officeDocument/2006/relationships/slideLayout" Target="../slideLayouts/slideLayout333.xml"/><Relationship Id="rId56" Type="http://schemas.openxmlformats.org/officeDocument/2006/relationships/slideLayout" Target="../slideLayouts/slideLayout341.xml"/><Relationship Id="rId8" Type="http://schemas.openxmlformats.org/officeDocument/2006/relationships/slideLayout" Target="../slideLayouts/slideLayout293.xml"/><Relationship Id="rId51" Type="http://schemas.openxmlformats.org/officeDocument/2006/relationships/slideLayout" Target="../slideLayouts/slideLayout336.xml"/><Relationship Id="rId3" Type="http://schemas.openxmlformats.org/officeDocument/2006/relationships/slideLayout" Target="../slideLayouts/slideLayout288.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slideLayout" Target="../slideLayouts/slideLayout310.xml"/><Relationship Id="rId33" Type="http://schemas.openxmlformats.org/officeDocument/2006/relationships/slideLayout" Target="../slideLayouts/slideLayout318.xml"/><Relationship Id="rId38" Type="http://schemas.openxmlformats.org/officeDocument/2006/relationships/slideLayout" Target="../slideLayouts/slideLayout323.xml"/><Relationship Id="rId46" Type="http://schemas.openxmlformats.org/officeDocument/2006/relationships/slideLayout" Target="../slideLayouts/slideLayout331.xml"/><Relationship Id="rId59" Type="http://schemas.openxmlformats.org/officeDocument/2006/relationships/theme" Target="../theme/theme6.xml"/><Relationship Id="rId20" Type="http://schemas.openxmlformats.org/officeDocument/2006/relationships/slideLayout" Target="../slideLayouts/slideLayout305.xml"/><Relationship Id="rId41" Type="http://schemas.openxmlformats.org/officeDocument/2006/relationships/slideLayout" Target="../slideLayouts/slideLayout326.xml"/><Relationship Id="rId54" Type="http://schemas.openxmlformats.org/officeDocument/2006/relationships/slideLayout" Target="../slideLayouts/slideLayout339.xml"/><Relationship Id="rId62" Type="http://schemas.openxmlformats.org/officeDocument/2006/relationships/oleObject" Target="../embeddings/oleObject7.bin"/><Relationship Id="rId1" Type="http://schemas.openxmlformats.org/officeDocument/2006/relationships/slideLayout" Target="../slideLayouts/slideLayout286.xml"/><Relationship Id="rId6" Type="http://schemas.openxmlformats.org/officeDocument/2006/relationships/slideLayout" Target="../slideLayouts/slideLayout291.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36" Type="http://schemas.openxmlformats.org/officeDocument/2006/relationships/slideLayout" Target="../slideLayouts/slideLayout321.xml"/><Relationship Id="rId49" Type="http://schemas.openxmlformats.org/officeDocument/2006/relationships/slideLayout" Target="../slideLayouts/slideLayout334.xml"/><Relationship Id="rId57" Type="http://schemas.openxmlformats.org/officeDocument/2006/relationships/slideLayout" Target="../slideLayouts/slideLayout342.xml"/><Relationship Id="rId10" Type="http://schemas.openxmlformats.org/officeDocument/2006/relationships/slideLayout" Target="../slideLayouts/slideLayout295.xml"/><Relationship Id="rId31" Type="http://schemas.openxmlformats.org/officeDocument/2006/relationships/slideLayout" Target="../slideLayouts/slideLayout316.xml"/><Relationship Id="rId44" Type="http://schemas.openxmlformats.org/officeDocument/2006/relationships/slideLayout" Target="../slideLayouts/slideLayout329.xml"/><Relationship Id="rId52" Type="http://schemas.openxmlformats.org/officeDocument/2006/relationships/slideLayout" Target="../slideLayouts/slideLayout337.xml"/><Relationship Id="rId60" Type="http://schemas.openxmlformats.org/officeDocument/2006/relationships/tags" Target="../tags/tag8.xml"/><Relationship Id="rId4" Type="http://schemas.openxmlformats.org/officeDocument/2006/relationships/slideLayout" Target="../slideLayouts/slideLayout289.xml"/><Relationship Id="rId9" Type="http://schemas.openxmlformats.org/officeDocument/2006/relationships/slideLayout" Target="../slideLayouts/slideLayout29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26" Type="http://schemas.openxmlformats.org/officeDocument/2006/relationships/slideLayout" Target="../slideLayouts/slideLayout369.xml"/><Relationship Id="rId39" Type="http://schemas.openxmlformats.org/officeDocument/2006/relationships/slideLayout" Target="../slideLayouts/slideLayout382.xml"/><Relationship Id="rId21" Type="http://schemas.openxmlformats.org/officeDocument/2006/relationships/slideLayout" Target="../slideLayouts/slideLayout364.xml"/><Relationship Id="rId34" Type="http://schemas.openxmlformats.org/officeDocument/2006/relationships/slideLayout" Target="../slideLayouts/slideLayout377.xml"/><Relationship Id="rId42" Type="http://schemas.openxmlformats.org/officeDocument/2006/relationships/slideLayout" Target="../slideLayouts/slideLayout385.xml"/><Relationship Id="rId47" Type="http://schemas.openxmlformats.org/officeDocument/2006/relationships/slideLayout" Target="../slideLayouts/slideLayout390.xml"/><Relationship Id="rId50" Type="http://schemas.openxmlformats.org/officeDocument/2006/relationships/slideLayout" Target="../slideLayouts/slideLayout393.xml"/><Relationship Id="rId55" Type="http://schemas.openxmlformats.org/officeDocument/2006/relationships/slideLayout" Target="../slideLayouts/slideLayout398.xml"/><Relationship Id="rId7" Type="http://schemas.openxmlformats.org/officeDocument/2006/relationships/slideLayout" Target="../slideLayouts/slideLayout350.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9" Type="http://schemas.openxmlformats.org/officeDocument/2006/relationships/slideLayout" Target="../slideLayouts/slideLayout372.xml"/><Relationship Id="rId11" Type="http://schemas.openxmlformats.org/officeDocument/2006/relationships/slideLayout" Target="../slideLayouts/slideLayout354.xml"/><Relationship Id="rId24" Type="http://schemas.openxmlformats.org/officeDocument/2006/relationships/slideLayout" Target="../slideLayouts/slideLayout367.xml"/><Relationship Id="rId32" Type="http://schemas.openxmlformats.org/officeDocument/2006/relationships/slideLayout" Target="../slideLayouts/slideLayout375.xml"/><Relationship Id="rId37" Type="http://schemas.openxmlformats.org/officeDocument/2006/relationships/slideLayout" Target="../slideLayouts/slideLayout380.xml"/><Relationship Id="rId40" Type="http://schemas.openxmlformats.org/officeDocument/2006/relationships/slideLayout" Target="../slideLayouts/slideLayout383.xml"/><Relationship Id="rId45" Type="http://schemas.openxmlformats.org/officeDocument/2006/relationships/slideLayout" Target="../slideLayouts/slideLayout388.xml"/><Relationship Id="rId53" Type="http://schemas.openxmlformats.org/officeDocument/2006/relationships/slideLayout" Target="../slideLayouts/slideLayout396.xml"/><Relationship Id="rId58" Type="http://schemas.openxmlformats.org/officeDocument/2006/relationships/theme" Target="../theme/theme7.xml"/><Relationship Id="rId5" Type="http://schemas.openxmlformats.org/officeDocument/2006/relationships/slideLayout" Target="../slideLayouts/slideLayout348.xml"/><Relationship Id="rId61" Type="http://schemas.openxmlformats.org/officeDocument/2006/relationships/oleObject" Target="../embeddings/oleObject9.bin"/><Relationship Id="rId19" Type="http://schemas.openxmlformats.org/officeDocument/2006/relationships/slideLayout" Target="../slideLayouts/slideLayout362.xml"/><Relationship Id="rId14" Type="http://schemas.openxmlformats.org/officeDocument/2006/relationships/slideLayout" Target="../slideLayouts/slideLayout357.xml"/><Relationship Id="rId22" Type="http://schemas.openxmlformats.org/officeDocument/2006/relationships/slideLayout" Target="../slideLayouts/slideLayout365.xml"/><Relationship Id="rId27" Type="http://schemas.openxmlformats.org/officeDocument/2006/relationships/slideLayout" Target="../slideLayouts/slideLayout370.xml"/><Relationship Id="rId30" Type="http://schemas.openxmlformats.org/officeDocument/2006/relationships/slideLayout" Target="../slideLayouts/slideLayout373.xml"/><Relationship Id="rId35" Type="http://schemas.openxmlformats.org/officeDocument/2006/relationships/slideLayout" Target="../slideLayouts/slideLayout378.xml"/><Relationship Id="rId43" Type="http://schemas.openxmlformats.org/officeDocument/2006/relationships/slideLayout" Target="../slideLayouts/slideLayout386.xml"/><Relationship Id="rId48" Type="http://schemas.openxmlformats.org/officeDocument/2006/relationships/slideLayout" Target="../slideLayouts/slideLayout391.xml"/><Relationship Id="rId56" Type="http://schemas.openxmlformats.org/officeDocument/2006/relationships/slideLayout" Target="../slideLayouts/slideLayout399.xml"/><Relationship Id="rId8" Type="http://schemas.openxmlformats.org/officeDocument/2006/relationships/slideLayout" Target="../slideLayouts/slideLayout351.xml"/><Relationship Id="rId51" Type="http://schemas.openxmlformats.org/officeDocument/2006/relationships/slideLayout" Target="../slideLayouts/slideLayout394.xml"/><Relationship Id="rId3" Type="http://schemas.openxmlformats.org/officeDocument/2006/relationships/slideLayout" Target="../slideLayouts/slideLayout346.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5" Type="http://schemas.openxmlformats.org/officeDocument/2006/relationships/slideLayout" Target="../slideLayouts/slideLayout368.xml"/><Relationship Id="rId33" Type="http://schemas.openxmlformats.org/officeDocument/2006/relationships/slideLayout" Target="../slideLayouts/slideLayout376.xml"/><Relationship Id="rId38" Type="http://schemas.openxmlformats.org/officeDocument/2006/relationships/slideLayout" Target="../slideLayouts/slideLayout381.xml"/><Relationship Id="rId46" Type="http://schemas.openxmlformats.org/officeDocument/2006/relationships/slideLayout" Target="../slideLayouts/slideLayout389.xml"/><Relationship Id="rId59" Type="http://schemas.openxmlformats.org/officeDocument/2006/relationships/tags" Target="../tags/tag10.xml"/><Relationship Id="rId20" Type="http://schemas.openxmlformats.org/officeDocument/2006/relationships/slideLayout" Target="../slideLayouts/slideLayout363.xml"/><Relationship Id="rId41" Type="http://schemas.openxmlformats.org/officeDocument/2006/relationships/slideLayout" Target="../slideLayouts/slideLayout384.xml"/><Relationship Id="rId54" Type="http://schemas.openxmlformats.org/officeDocument/2006/relationships/slideLayout" Target="../slideLayouts/slideLayout397.xml"/><Relationship Id="rId62" Type="http://schemas.openxmlformats.org/officeDocument/2006/relationships/image" Target="../media/image2.emf"/><Relationship Id="rId1" Type="http://schemas.openxmlformats.org/officeDocument/2006/relationships/slideLayout" Target="../slideLayouts/slideLayout344.xml"/><Relationship Id="rId6" Type="http://schemas.openxmlformats.org/officeDocument/2006/relationships/slideLayout" Target="../slideLayouts/slideLayout349.xml"/><Relationship Id="rId15" Type="http://schemas.openxmlformats.org/officeDocument/2006/relationships/slideLayout" Target="../slideLayouts/slideLayout358.xml"/><Relationship Id="rId23" Type="http://schemas.openxmlformats.org/officeDocument/2006/relationships/slideLayout" Target="../slideLayouts/slideLayout366.xml"/><Relationship Id="rId28" Type="http://schemas.openxmlformats.org/officeDocument/2006/relationships/slideLayout" Target="../slideLayouts/slideLayout371.xml"/><Relationship Id="rId36" Type="http://schemas.openxmlformats.org/officeDocument/2006/relationships/slideLayout" Target="../slideLayouts/slideLayout379.xml"/><Relationship Id="rId49" Type="http://schemas.openxmlformats.org/officeDocument/2006/relationships/slideLayout" Target="../slideLayouts/slideLayout392.xml"/><Relationship Id="rId57" Type="http://schemas.openxmlformats.org/officeDocument/2006/relationships/slideLayout" Target="../slideLayouts/slideLayout400.xml"/><Relationship Id="rId10" Type="http://schemas.openxmlformats.org/officeDocument/2006/relationships/slideLayout" Target="../slideLayouts/slideLayout353.xml"/><Relationship Id="rId31" Type="http://schemas.openxmlformats.org/officeDocument/2006/relationships/slideLayout" Target="../slideLayouts/slideLayout374.xml"/><Relationship Id="rId44" Type="http://schemas.openxmlformats.org/officeDocument/2006/relationships/slideLayout" Target="../slideLayouts/slideLayout387.xml"/><Relationship Id="rId52" Type="http://schemas.openxmlformats.org/officeDocument/2006/relationships/slideLayout" Target="../slideLayouts/slideLayout395.xml"/><Relationship Id="rId60" Type="http://schemas.openxmlformats.org/officeDocument/2006/relationships/image" Target="../media/image1.png"/><Relationship Id="rId4" Type="http://schemas.openxmlformats.org/officeDocument/2006/relationships/slideLayout" Target="../slideLayouts/slideLayout347.xml"/><Relationship Id="rId9" Type="http://schemas.openxmlformats.org/officeDocument/2006/relationships/slideLayout" Target="../slideLayouts/slideLayout3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7179542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30"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124494817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767" r:id="rId35"/>
    <p:sldLayoutId id="2147483768" r:id="rId36"/>
    <p:sldLayoutId id="2147483769" r:id="rId37"/>
    <p:sldLayoutId id="2147483770" r:id="rId38"/>
    <p:sldLayoutId id="2147483771" r:id="rId39"/>
    <p:sldLayoutId id="2147483772" r:id="rId40"/>
    <p:sldLayoutId id="2147483773" r:id="rId41"/>
    <p:sldLayoutId id="2147483774" r:id="rId42"/>
    <p:sldLayoutId id="2147483775" r:id="rId43"/>
    <p:sldLayoutId id="2147483776" r:id="rId44"/>
    <p:sldLayoutId id="2147483777" r:id="rId45"/>
    <p:sldLayoutId id="2147483778" r:id="rId46"/>
    <p:sldLayoutId id="2147483779" r:id="rId47"/>
    <p:sldLayoutId id="2147483780" r:id="rId48"/>
    <p:sldLayoutId id="2147483781" r:id="rId49"/>
    <p:sldLayoutId id="2147483782" r:id="rId50"/>
    <p:sldLayoutId id="2147483783" r:id="rId51"/>
    <p:sldLayoutId id="2147483784" r:id="rId52"/>
    <p:sldLayoutId id="2147483785" r:id="rId53"/>
    <p:sldLayoutId id="2147483786" r:id="rId54"/>
    <p:sldLayoutId id="2147483787" r:id="rId55"/>
    <p:sldLayoutId id="2147483788" r:id="rId56"/>
    <p:sldLayoutId id="2147483789"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1894260293"/>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 id="2147483829" r:id="rId39"/>
    <p:sldLayoutId id="2147483830" r:id="rId40"/>
    <p:sldLayoutId id="2147483831" r:id="rId41"/>
    <p:sldLayoutId id="2147483832" r:id="rId42"/>
    <p:sldLayoutId id="2147483833" r:id="rId43"/>
    <p:sldLayoutId id="2147483834" r:id="rId44"/>
    <p:sldLayoutId id="2147483835" r:id="rId45"/>
    <p:sldLayoutId id="2147483836" r:id="rId46"/>
    <p:sldLayoutId id="2147483837" r:id="rId47"/>
    <p:sldLayoutId id="2147483838" r:id="rId48"/>
    <p:sldLayoutId id="2147483839" r:id="rId49"/>
    <p:sldLayoutId id="2147483840" r:id="rId50"/>
    <p:sldLayoutId id="2147483841" r:id="rId51"/>
    <p:sldLayoutId id="2147483842" r:id="rId52"/>
    <p:sldLayoutId id="2147483843" r:id="rId53"/>
    <p:sldLayoutId id="2147483844" r:id="rId54"/>
    <p:sldLayoutId id="2147483845" r:id="rId55"/>
    <p:sldLayoutId id="2147483846" r:id="rId56"/>
    <p:sldLayoutId id="2147483847"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2250022403"/>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89" r:id="rId41"/>
    <p:sldLayoutId id="2147483890" r:id="rId42"/>
    <p:sldLayoutId id="2147483891" r:id="rId43"/>
    <p:sldLayoutId id="2147483892" r:id="rId44"/>
    <p:sldLayoutId id="2147483893" r:id="rId45"/>
    <p:sldLayoutId id="2147483894" r:id="rId46"/>
    <p:sldLayoutId id="2147483895" r:id="rId47"/>
    <p:sldLayoutId id="2147483896" r:id="rId48"/>
    <p:sldLayoutId id="2147483897" r:id="rId49"/>
    <p:sldLayoutId id="2147483898" r:id="rId50"/>
    <p:sldLayoutId id="2147483899" r:id="rId51"/>
    <p:sldLayoutId id="2147483900" r:id="rId52"/>
    <p:sldLayoutId id="2147483901" r:id="rId53"/>
    <p:sldLayoutId id="2147483902" r:id="rId54"/>
    <p:sldLayoutId id="2147483903" r:id="rId55"/>
    <p:sldLayoutId id="2147483904" r:id="rId56"/>
    <p:sldLayoutId id="2147483905"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1945016283"/>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 id="2147483925" r:id="rId19"/>
    <p:sldLayoutId id="2147483926" r:id="rId20"/>
    <p:sldLayoutId id="2147483927" r:id="rId21"/>
    <p:sldLayoutId id="2147483928" r:id="rId22"/>
    <p:sldLayoutId id="2147483929" r:id="rId23"/>
    <p:sldLayoutId id="2147483930" r:id="rId24"/>
    <p:sldLayoutId id="2147483931" r:id="rId25"/>
    <p:sldLayoutId id="2147483932" r:id="rId26"/>
    <p:sldLayoutId id="2147483933" r:id="rId27"/>
    <p:sldLayoutId id="2147483934" r:id="rId28"/>
    <p:sldLayoutId id="2147483935" r:id="rId29"/>
    <p:sldLayoutId id="2147483936" r:id="rId30"/>
    <p:sldLayoutId id="2147483937" r:id="rId31"/>
    <p:sldLayoutId id="2147483938" r:id="rId32"/>
    <p:sldLayoutId id="2147483939" r:id="rId33"/>
    <p:sldLayoutId id="2147483940" r:id="rId34"/>
    <p:sldLayoutId id="2147483941" r:id="rId35"/>
    <p:sldLayoutId id="2147483942" r:id="rId36"/>
    <p:sldLayoutId id="2147483943" r:id="rId37"/>
    <p:sldLayoutId id="2147483944" r:id="rId38"/>
    <p:sldLayoutId id="2147483945" r:id="rId39"/>
    <p:sldLayoutId id="2147483946" r:id="rId40"/>
    <p:sldLayoutId id="2147483947" r:id="rId41"/>
    <p:sldLayoutId id="2147483948" r:id="rId42"/>
    <p:sldLayoutId id="2147483949" r:id="rId43"/>
    <p:sldLayoutId id="2147483950" r:id="rId44"/>
    <p:sldLayoutId id="2147483951" r:id="rId45"/>
    <p:sldLayoutId id="2147483952" r:id="rId46"/>
    <p:sldLayoutId id="2147483953" r:id="rId47"/>
    <p:sldLayoutId id="2147483954" r:id="rId48"/>
    <p:sldLayoutId id="2147483955" r:id="rId49"/>
    <p:sldLayoutId id="2147483956" r:id="rId50"/>
    <p:sldLayoutId id="2147483957" r:id="rId51"/>
    <p:sldLayoutId id="2147483958" r:id="rId52"/>
    <p:sldLayoutId id="2147483959" r:id="rId53"/>
    <p:sldLayoutId id="2147483960" r:id="rId54"/>
    <p:sldLayoutId id="2147483961" r:id="rId55"/>
    <p:sldLayoutId id="2147483962" r:id="rId56"/>
    <p:sldLayoutId id="2147483963"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1">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60"/>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4001912193"/>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 id="2147483986" r:id="rId22"/>
    <p:sldLayoutId id="2147483987" r:id="rId23"/>
    <p:sldLayoutId id="2147483988" r:id="rId24"/>
    <p:sldLayoutId id="2147483989" r:id="rId25"/>
    <p:sldLayoutId id="2147483990" r:id="rId26"/>
    <p:sldLayoutId id="2147483991" r:id="rId27"/>
    <p:sldLayoutId id="2147483992" r:id="rId28"/>
    <p:sldLayoutId id="2147483993" r:id="rId29"/>
    <p:sldLayoutId id="2147483994" r:id="rId30"/>
    <p:sldLayoutId id="2147483995" r:id="rId31"/>
    <p:sldLayoutId id="2147483996" r:id="rId32"/>
    <p:sldLayoutId id="2147483997" r:id="rId33"/>
    <p:sldLayoutId id="2147483998" r:id="rId34"/>
    <p:sldLayoutId id="2147483999" r:id="rId35"/>
    <p:sldLayoutId id="2147484000" r:id="rId36"/>
    <p:sldLayoutId id="2147484001" r:id="rId37"/>
    <p:sldLayoutId id="2147484002" r:id="rId38"/>
    <p:sldLayoutId id="2147484003" r:id="rId39"/>
    <p:sldLayoutId id="2147484004" r:id="rId40"/>
    <p:sldLayoutId id="2147484005" r:id="rId41"/>
    <p:sldLayoutId id="2147484006" r:id="rId42"/>
    <p:sldLayoutId id="2147484007" r:id="rId43"/>
    <p:sldLayoutId id="2147484008" r:id="rId44"/>
    <p:sldLayoutId id="2147484009" r:id="rId45"/>
    <p:sldLayoutId id="2147484010" r:id="rId46"/>
    <p:sldLayoutId id="2147484011" r:id="rId47"/>
    <p:sldLayoutId id="2147484012" r:id="rId48"/>
    <p:sldLayoutId id="2147484013" r:id="rId49"/>
    <p:sldLayoutId id="2147484014" r:id="rId50"/>
    <p:sldLayoutId id="2147484015" r:id="rId51"/>
    <p:sldLayoutId id="2147484016" r:id="rId52"/>
    <p:sldLayoutId id="2147484017" r:id="rId53"/>
    <p:sldLayoutId id="2147484018" r:id="rId54"/>
    <p:sldLayoutId id="2147484019" r:id="rId55"/>
    <p:sldLayoutId id="2147484020" r:id="rId56"/>
    <p:sldLayoutId id="2147484021" r:id="rId57"/>
    <p:sldLayoutId id="2147484022" r:id="rId58"/>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dirty="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2250344564"/>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 id="2147484049" r:id="rId26"/>
    <p:sldLayoutId id="2147484050" r:id="rId27"/>
    <p:sldLayoutId id="2147484051" r:id="rId28"/>
    <p:sldLayoutId id="2147484052" r:id="rId29"/>
    <p:sldLayoutId id="2147484053" r:id="rId30"/>
    <p:sldLayoutId id="2147484054" r:id="rId31"/>
    <p:sldLayoutId id="2147484055" r:id="rId32"/>
    <p:sldLayoutId id="2147484056" r:id="rId33"/>
    <p:sldLayoutId id="2147484057" r:id="rId34"/>
    <p:sldLayoutId id="2147484058" r:id="rId35"/>
    <p:sldLayoutId id="2147484059" r:id="rId36"/>
    <p:sldLayoutId id="2147484060" r:id="rId37"/>
    <p:sldLayoutId id="2147484061" r:id="rId38"/>
    <p:sldLayoutId id="2147484062" r:id="rId39"/>
    <p:sldLayoutId id="2147484063" r:id="rId40"/>
    <p:sldLayoutId id="2147484064" r:id="rId41"/>
    <p:sldLayoutId id="2147484065" r:id="rId42"/>
    <p:sldLayoutId id="2147484066" r:id="rId43"/>
    <p:sldLayoutId id="2147484067" r:id="rId44"/>
    <p:sldLayoutId id="2147484068" r:id="rId45"/>
    <p:sldLayoutId id="2147484069" r:id="rId46"/>
    <p:sldLayoutId id="2147484070" r:id="rId47"/>
    <p:sldLayoutId id="2147484071" r:id="rId48"/>
    <p:sldLayoutId id="2147484072" r:id="rId49"/>
    <p:sldLayoutId id="2147484073" r:id="rId50"/>
    <p:sldLayoutId id="2147484074" r:id="rId51"/>
    <p:sldLayoutId id="2147484075" r:id="rId52"/>
    <p:sldLayoutId id="2147484076" r:id="rId53"/>
    <p:sldLayoutId id="2147484077" r:id="rId54"/>
    <p:sldLayoutId id="2147484078" r:id="rId55"/>
    <p:sldLayoutId id="2147484079" r:id="rId56"/>
    <p:sldLayoutId id="2147484080"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43.png"/><Relationship Id="rId2" Type="http://schemas.openxmlformats.org/officeDocument/2006/relationships/tags" Target="../tags/tag11.xml"/><Relationship Id="rId1" Type="http://schemas.openxmlformats.org/officeDocument/2006/relationships/themeOverride" Target="../theme/themeOverride1.xml"/><Relationship Id="rId6" Type="http://schemas.openxmlformats.org/officeDocument/2006/relationships/image" Target="../media/image17.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0.xml"/><Relationship Id="rId1" Type="http://schemas.openxmlformats.org/officeDocument/2006/relationships/themeOverride" Target="../theme/themeOverride5.xml"/><Relationship Id="rId6" Type="http://schemas.openxmlformats.org/officeDocument/2006/relationships/image" Target="../media/image17.emf"/><Relationship Id="rId5" Type="http://schemas.openxmlformats.org/officeDocument/2006/relationships/oleObject" Target="../embeddings/oleObject1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21.xml"/><Relationship Id="rId5" Type="http://schemas.openxmlformats.org/officeDocument/2006/relationships/image" Target="../media/image17.emf"/><Relationship Id="rId4" Type="http://schemas.openxmlformats.org/officeDocument/2006/relationships/oleObject" Target="../embeddings/oleObject2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63.xml"/><Relationship Id="rId1" Type="http://schemas.openxmlformats.org/officeDocument/2006/relationships/tags" Target="../tags/tag22.xml"/><Relationship Id="rId6" Type="http://schemas.openxmlformats.org/officeDocument/2006/relationships/image" Target="../media/image70.png"/><Relationship Id="rId5" Type="http://schemas.openxmlformats.org/officeDocument/2006/relationships/image" Target="../media/image17.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slideLayout" Target="../slideLayouts/slideLayout263.xml"/><Relationship Id="rId7" Type="http://schemas.openxmlformats.org/officeDocument/2006/relationships/image" Target="../media/image45.emf"/><Relationship Id="rId2" Type="http://schemas.openxmlformats.org/officeDocument/2006/relationships/tags" Target="../tags/tag23.xml"/><Relationship Id="rId1" Type="http://schemas.openxmlformats.org/officeDocument/2006/relationships/themeOverride" Target="../theme/themeOverride6.xml"/><Relationship Id="rId6" Type="http://schemas.openxmlformats.org/officeDocument/2006/relationships/oleObject" Target="../embeddings/oleObject22.bin"/><Relationship Id="rId5" Type="http://schemas.openxmlformats.org/officeDocument/2006/relationships/image" Target="../media/image1.png"/><Relationship Id="rId4" Type="http://schemas.openxmlformats.org/officeDocument/2006/relationships/notesSlide" Target="../notesSlides/notesSlide13.xml"/><Relationship Id="rId9"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4.xml"/><Relationship Id="rId1" Type="http://schemas.openxmlformats.org/officeDocument/2006/relationships/themeOverride" Target="../theme/themeOverride7.xml"/><Relationship Id="rId6" Type="http://schemas.openxmlformats.org/officeDocument/2006/relationships/image" Target="../media/image17.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25.xml"/><Relationship Id="rId5" Type="http://schemas.openxmlformats.org/officeDocument/2006/relationships/image" Target="../media/image17.emf"/><Relationship Id="rId4" Type="http://schemas.openxmlformats.org/officeDocument/2006/relationships/oleObject" Target="../embeddings/oleObject24.bin"/></Relationships>
</file>

<file path=ppt/slides/_rels/slide1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16.xml"/><Relationship Id="rId7" Type="http://schemas.openxmlformats.org/officeDocument/2006/relationships/image" Target="../media/image17.emf"/><Relationship Id="rId2" Type="http://schemas.openxmlformats.org/officeDocument/2006/relationships/tags" Target="../tags/tag26.xml"/><Relationship Id="rId1" Type="http://schemas.openxmlformats.org/officeDocument/2006/relationships/themeOverride" Target="../theme/themeOverride8.xml"/><Relationship Id="rId6" Type="http://schemas.openxmlformats.org/officeDocument/2006/relationships/oleObject" Target="../embeddings/oleObject25.bin"/><Relationship Id="rId11" Type="http://schemas.openxmlformats.org/officeDocument/2006/relationships/image" Target="../media/image55.svg"/><Relationship Id="rId5" Type="http://schemas.openxmlformats.org/officeDocument/2006/relationships/image" Target="../media/image1.png"/><Relationship Id="rId10" Type="http://schemas.openxmlformats.org/officeDocument/2006/relationships/image" Target="../media/image54.png"/><Relationship Id="rId4" Type="http://schemas.openxmlformats.org/officeDocument/2006/relationships/notesSlide" Target="../notesSlides/notesSlide16.xml"/><Relationship Id="rId9" Type="http://schemas.openxmlformats.org/officeDocument/2006/relationships/image" Target="../media/image73.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27.xml"/><Relationship Id="rId5" Type="http://schemas.openxmlformats.org/officeDocument/2006/relationships/image" Target="../media/image17.emf"/><Relationship Id="rId4" Type="http://schemas.openxmlformats.org/officeDocument/2006/relationships/oleObject" Target="../embeddings/oleObject2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8.xml"/><Relationship Id="rId1" Type="http://schemas.openxmlformats.org/officeDocument/2006/relationships/themeOverride" Target="../theme/themeOverride9.xml"/><Relationship Id="rId6" Type="http://schemas.openxmlformats.org/officeDocument/2006/relationships/image" Target="../media/image17.emf"/><Relationship Id="rId5" Type="http://schemas.openxmlformats.org/officeDocument/2006/relationships/oleObject" Target="../embeddings/oleObject2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hyperlink" Target="https://stateofva.sharepoint.com/:b:/s/EC/ESjoI7gojVVAu-bvMNJeSeIBdSgne81SzFZ5VFoI46OkAA?e=pj4LnJ" TargetMode="External"/><Relationship Id="rId5" Type="http://schemas.openxmlformats.org/officeDocument/2006/relationships/image" Target="../media/image17.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39.xml"/><Relationship Id="rId7" Type="http://schemas.openxmlformats.org/officeDocument/2006/relationships/image" Target="../media/image44.emf"/><Relationship Id="rId2" Type="http://schemas.openxmlformats.org/officeDocument/2006/relationships/tags" Target="../tags/tag30.xml"/><Relationship Id="rId1" Type="http://schemas.openxmlformats.org/officeDocument/2006/relationships/themeOverride" Target="../theme/themeOverride10.xml"/><Relationship Id="rId6" Type="http://schemas.openxmlformats.org/officeDocument/2006/relationships/oleObject" Target="../embeddings/oleObject29.bin"/><Relationship Id="rId5" Type="http://schemas.openxmlformats.org/officeDocument/2006/relationships/image" Target="../media/image1.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1.xml"/><Relationship Id="rId1" Type="http://schemas.openxmlformats.org/officeDocument/2006/relationships/themeOverride" Target="../theme/themeOverride11.xml"/><Relationship Id="rId6" Type="http://schemas.openxmlformats.org/officeDocument/2006/relationships/image" Target="../media/image17.emf"/><Relationship Id="rId5" Type="http://schemas.openxmlformats.org/officeDocument/2006/relationships/oleObject" Target="../embeddings/oleObject30.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hyperlink" Target="https://www.cnbc.com/2022/07/13/americas-top-states-for-business-2022-the-full-rankings.html" TargetMode="External"/><Relationship Id="rId3" Type="http://schemas.openxmlformats.org/officeDocument/2006/relationships/slideLayout" Target="../slideLayouts/slideLayout11.xml"/><Relationship Id="rId7" Type="http://schemas.openxmlformats.org/officeDocument/2006/relationships/image" Target="../media/image17.emf"/><Relationship Id="rId2" Type="http://schemas.openxmlformats.org/officeDocument/2006/relationships/tags" Target="../tags/tag32.xml"/><Relationship Id="rId1" Type="http://schemas.openxmlformats.org/officeDocument/2006/relationships/themeOverride" Target="../theme/themeOverride12.xml"/><Relationship Id="rId6" Type="http://schemas.openxmlformats.org/officeDocument/2006/relationships/oleObject" Target="../embeddings/oleObject31.bin"/><Relationship Id="rId5" Type="http://schemas.openxmlformats.org/officeDocument/2006/relationships/image" Target="../media/image1.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39.xml"/><Relationship Id="rId1" Type="http://schemas.openxmlformats.org/officeDocument/2006/relationships/tags" Target="../tags/tag33.xml"/><Relationship Id="rId6" Type="http://schemas.openxmlformats.org/officeDocument/2006/relationships/chart" Target="../charts/chart3.xml"/><Relationship Id="rId5" Type="http://schemas.openxmlformats.org/officeDocument/2006/relationships/image" Target="../media/image45.emf"/><Relationship Id="rId4" Type="http://schemas.openxmlformats.org/officeDocument/2006/relationships/oleObject" Target="../embeddings/oleObject3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4.xml"/><Relationship Id="rId1" Type="http://schemas.openxmlformats.org/officeDocument/2006/relationships/themeOverride" Target="../theme/themeOverride13.xml"/><Relationship Id="rId6" Type="http://schemas.openxmlformats.org/officeDocument/2006/relationships/image" Target="../media/image17.emf"/><Relationship Id="rId5" Type="http://schemas.openxmlformats.org/officeDocument/2006/relationships/oleObject" Target="../embeddings/oleObject3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hyperlink" Target="https://www.cnbc.com/2022/07/13/americas-top-states-for-business-2022-the-full-rankings.html" TargetMode="External"/><Relationship Id="rId3" Type="http://schemas.openxmlformats.org/officeDocument/2006/relationships/notesSlide" Target="../notesSlides/notesSlide25.xml"/><Relationship Id="rId7" Type="http://schemas.openxmlformats.org/officeDocument/2006/relationships/hyperlink" Target="https://indicators.kauffman.org/wp-content/uploads/sites/2/2021/12/2020_Early-Stage-Entrepreneurship-VA_Snapshot.pdf" TargetMode="External"/><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hyperlink" Target="https://indicators.kauffman.org/state/virginia" TargetMode="External"/><Relationship Id="rId5" Type="http://schemas.openxmlformats.org/officeDocument/2006/relationships/image" Target="../media/image17.emf"/><Relationship Id="rId4" Type="http://schemas.openxmlformats.org/officeDocument/2006/relationships/oleObject" Target="../embeddings/oleObject34.bin"/></Relationships>
</file>

<file path=ppt/slides/_rels/slide2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39.xml"/><Relationship Id="rId7" Type="http://schemas.openxmlformats.org/officeDocument/2006/relationships/image" Target="../media/image45.emf"/><Relationship Id="rId2" Type="http://schemas.openxmlformats.org/officeDocument/2006/relationships/tags" Target="../tags/tag36.xml"/><Relationship Id="rId1" Type="http://schemas.openxmlformats.org/officeDocument/2006/relationships/themeOverride" Target="../theme/themeOverride14.xml"/><Relationship Id="rId6" Type="http://schemas.openxmlformats.org/officeDocument/2006/relationships/oleObject" Target="../embeddings/oleObject35.bin"/><Relationship Id="rId5" Type="http://schemas.openxmlformats.org/officeDocument/2006/relationships/image" Target="../media/image1.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7.xml"/><Relationship Id="rId1" Type="http://schemas.openxmlformats.org/officeDocument/2006/relationships/themeOverride" Target="../theme/themeOverride15.xml"/><Relationship Id="rId5" Type="http://schemas.openxmlformats.org/officeDocument/2006/relationships/image" Target="../media/image17.emf"/><Relationship Id="rId4"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8.xml"/><Relationship Id="rId1" Type="http://schemas.openxmlformats.org/officeDocument/2006/relationships/themeOverride" Target="../theme/themeOverride16.xml"/><Relationship Id="rId5" Type="http://schemas.openxmlformats.org/officeDocument/2006/relationships/image" Target="../media/image17.emf"/><Relationship Id="rId4" Type="http://schemas.openxmlformats.org/officeDocument/2006/relationships/oleObject" Target="../embeddings/oleObject3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9.xml"/><Relationship Id="rId1" Type="http://schemas.openxmlformats.org/officeDocument/2006/relationships/themeOverride" Target="../theme/themeOverride17.xml"/><Relationship Id="rId5" Type="http://schemas.openxmlformats.org/officeDocument/2006/relationships/image" Target="../media/image17.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3.xml"/><Relationship Id="rId5" Type="http://schemas.openxmlformats.org/officeDocument/2006/relationships/image" Target="../media/image44.emf"/><Relationship Id="rId4" Type="http://schemas.openxmlformats.org/officeDocument/2006/relationships/oleObject" Target="../embeddings/oleObject12.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1.xml"/><Relationship Id="rId1" Type="http://schemas.openxmlformats.org/officeDocument/2006/relationships/tags" Target="../tags/tag40.xml"/><Relationship Id="rId4" Type="http://schemas.openxmlformats.org/officeDocument/2006/relationships/image" Target="../media/image17.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1.xml"/><Relationship Id="rId1" Type="http://schemas.openxmlformats.org/officeDocument/2006/relationships/tags" Target="../tags/tag41.xml"/><Relationship Id="rId4" Type="http://schemas.openxmlformats.org/officeDocument/2006/relationships/image" Target="../media/image17.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42.xml"/><Relationship Id="rId1" Type="http://schemas.openxmlformats.org/officeDocument/2006/relationships/themeOverride" Target="../theme/themeOverride18.xml"/><Relationship Id="rId5" Type="http://schemas.openxmlformats.org/officeDocument/2006/relationships/image" Target="../media/image17.emf"/><Relationship Id="rId4" Type="http://schemas.openxmlformats.org/officeDocument/2006/relationships/oleObject" Target="../embeddings/oleObject41.bin"/></Relationships>
</file>

<file path=ppt/slides/_rels/slide3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16.xml"/><Relationship Id="rId7" Type="http://schemas.openxmlformats.org/officeDocument/2006/relationships/image" Target="../media/image45.emf"/><Relationship Id="rId2" Type="http://schemas.openxmlformats.org/officeDocument/2006/relationships/tags" Target="../tags/tag43.xml"/><Relationship Id="rId1" Type="http://schemas.openxmlformats.org/officeDocument/2006/relationships/themeOverride" Target="../theme/themeOverride19.xml"/><Relationship Id="rId6" Type="http://schemas.openxmlformats.org/officeDocument/2006/relationships/oleObject" Target="../embeddings/oleObject42.bin"/><Relationship Id="rId5" Type="http://schemas.openxmlformats.org/officeDocument/2006/relationships/image" Target="../media/image1.png"/><Relationship Id="rId4"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6.xml"/><Relationship Id="rId1" Type="http://schemas.openxmlformats.org/officeDocument/2006/relationships/tags" Target="../tags/tag44.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17.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5.xml"/><Relationship Id="rId6" Type="http://schemas.openxmlformats.org/officeDocument/2006/relationships/chart" Target="../charts/chart5.xml"/><Relationship Id="rId5" Type="http://schemas.openxmlformats.org/officeDocument/2006/relationships/image" Target="../media/image45.emf"/><Relationship Id="rId4" Type="http://schemas.openxmlformats.org/officeDocument/2006/relationships/oleObject" Target="../embeddings/oleObject44.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6.xml"/><Relationship Id="rId1" Type="http://schemas.openxmlformats.org/officeDocument/2006/relationships/tags" Target="../tags/tag46.xml"/><Relationship Id="rId4" Type="http://schemas.openxmlformats.org/officeDocument/2006/relationships/image" Target="../media/image17.emf"/></Relationships>
</file>

<file path=ppt/slides/_rels/slide3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16.xml"/><Relationship Id="rId7" Type="http://schemas.openxmlformats.org/officeDocument/2006/relationships/image" Target="../media/image17.emf"/><Relationship Id="rId2" Type="http://schemas.openxmlformats.org/officeDocument/2006/relationships/tags" Target="../tags/tag47.xml"/><Relationship Id="rId1" Type="http://schemas.openxmlformats.org/officeDocument/2006/relationships/themeOverride" Target="../theme/themeOverride20.xml"/><Relationship Id="rId6" Type="http://schemas.openxmlformats.org/officeDocument/2006/relationships/oleObject" Target="../embeddings/oleObject46.bin"/><Relationship Id="rId5" Type="http://schemas.openxmlformats.org/officeDocument/2006/relationships/image" Target="../media/image1.png"/><Relationship Id="rId4"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 Type="http://schemas.openxmlformats.org/officeDocument/2006/relationships/slideLayout" Target="../slideLayouts/slideLayout23.xml"/><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svg"/><Relationship Id="rId25" Type="http://schemas.openxmlformats.org/officeDocument/2006/relationships/image" Target="../media/image94.svg"/><Relationship Id="rId2" Type="http://schemas.openxmlformats.org/officeDocument/2006/relationships/tags" Target="../tags/tag48.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emf"/><Relationship Id="rId1" Type="http://schemas.openxmlformats.org/officeDocument/2006/relationships/themeOverride" Target="../theme/themeOverride21.xml"/><Relationship Id="rId6" Type="http://schemas.openxmlformats.org/officeDocument/2006/relationships/image" Target="../media/image47.emf"/><Relationship Id="rId11" Type="http://schemas.openxmlformats.org/officeDocument/2006/relationships/image" Target="../media/image80.png"/><Relationship Id="rId24" Type="http://schemas.openxmlformats.org/officeDocument/2006/relationships/image" Target="../media/image93.png"/><Relationship Id="rId32" Type="http://schemas.openxmlformats.org/officeDocument/2006/relationships/image" Target="../media/image101.svg"/><Relationship Id="rId5" Type="http://schemas.openxmlformats.org/officeDocument/2006/relationships/oleObject" Target="../embeddings/oleObject47.bin"/><Relationship Id="rId15" Type="http://schemas.openxmlformats.org/officeDocument/2006/relationships/image" Target="../media/image84.svg"/><Relationship Id="rId23" Type="http://schemas.openxmlformats.org/officeDocument/2006/relationships/image" Target="../media/image92.svg"/><Relationship Id="rId28" Type="http://schemas.openxmlformats.org/officeDocument/2006/relationships/image" Target="../media/image97.svg"/><Relationship Id="rId10" Type="http://schemas.openxmlformats.org/officeDocument/2006/relationships/image" Target="../media/image79.svg"/><Relationship Id="rId19" Type="http://schemas.openxmlformats.org/officeDocument/2006/relationships/image" Target="../media/image88.svg"/><Relationship Id="rId31" Type="http://schemas.openxmlformats.org/officeDocument/2006/relationships/image" Target="../media/image100.png"/><Relationship Id="rId4" Type="http://schemas.openxmlformats.org/officeDocument/2006/relationships/image" Target="../media/image1.png"/><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1.xml"/><Relationship Id="rId1" Type="http://schemas.openxmlformats.org/officeDocument/2006/relationships/tags" Target="../tags/tag49.xml"/><Relationship Id="rId5" Type="http://schemas.openxmlformats.org/officeDocument/2006/relationships/image" Target="../media/image25.png"/><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5.xml"/><Relationship Id="rId1" Type="http://schemas.openxmlformats.org/officeDocument/2006/relationships/tags" Target="../tags/tag14.xml"/><Relationship Id="rId5" Type="http://schemas.openxmlformats.org/officeDocument/2006/relationships/image" Target="../media/image17.emf"/><Relationship Id="rId4" Type="http://schemas.openxmlformats.org/officeDocument/2006/relationships/oleObject" Target="../embeddings/oleObject13.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6.xml"/><Relationship Id="rId1" Type="http://schemas.openxmlformats.org/officeDocument/2006/relationships/tags" Target="../tags/tag50.xml"/><Relationship Id="rId5" Type="http://schemas.openxmlformats.org/officeDocument/2006/relationships/chart" Target="../charts/chart7.xml"/><Relationship Id="rId4" Type="http://schemas.openxmlformats.org/officeDocument/2006/relationships/image" Target="../media/image17.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51.xml"/><Relationship Id="rId6" Type="http://schemas.openxmlformats.org/officeDocument/2006/relationships/image" Target="../media/image102.png"/><Relationship Id="rId5" Type="http://schemas.openxmlformats.org/officeDocument/2006/relationships/image" Target="../media/image17.emf"/><Relationship Id="rId4" Type="http://schemas.openxmlformats.org/officeDocument/2006/relationships/oleObject" Target="../embeddings/oleObject5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52.xml"/><Relationship Id="rId6" Type="http://schemas.openxmlformats.org/officeDocument/2006/relationships/image" Target="../media/image103.png"/><Relationship Id="rId5" Type="http://schemas.openxmlformats.org/officeDocument/2006/relationships/image" Target="../media/image17.emf"/><Relationship Id="rId4" Type="http://schemas.openxmlformats.org/officeDocument/2006/relationships/oleObject" Target="../embeddings/oleObject5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39.xml"/><Relationship Id="rId2" Type="http://schemas.openxmlformats.org/officeDocument/2006/relationships/tags" Target="../tags/tag53.xml"/><Relationship Id="rId1" Type="http://schemas.openxmlformats.org/officeDocument/2006/relationships/themeOverride" Target="../theme/themeOverride22.xml"/><Relationship Id="rId6" Type="http://schemas.openxmlformats.org/officeDocument/2006/relationships/image" Target="../media/image44.emf"/><Relationship Id="rId5" Type="http://schemas.openxmlformats.org/officeDocument/2006/relationships/oleObject" Target="../embeddings/oleObject52.bin"/><Relationship Id="rId4" Type="http://schemas.openxmlformats.org/officeDocument/2006/relationships/image" Target="../media/image1.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39.xml"/><Relationship Id="rId1" Type="http://schemas.openxmlformats.org/officeDocument/2006/relationships/tags" Target="../tags/tag54.xml"/><Relationship Id="rId5" Type="http://schemas.openxmlformats.org/officeDocument/2006/relationships/image" Target="../media/image25.png"/><Relationship Id="rId4" Type="http://schemas.openxmlformats.org/officeDocument/2006/relationships/image" Target="../media/image44.emf"/></Relationships>
</file>

<file path=ppt/slides/_rels/slide45.xml.rels><?xml version="1.0" encoding="UTF-8" standalone="yes"?>
<Relationships xmlns="http://schemas.openxmlformats.org/package/2006/relationships"><Relationship Id="rId8" Type="http://schemas.openxmlformats.org/officeDocument/2006/relationships/hyperlink" Target="https://law.lis.virginia.gov/vacode/60.2-528/" TargetMode="External"/><Relationship Id="rId3" Type="http://schemas.openxmlformats.org/officeDocument/2006/relationships/slideLayout" Target="../slideLayouts/slideLayout239.xml"/><Relationship Id="rId7" Type="http://schemas.openxmlformats.org/officeDocument/2006/relationships/hyperlink" Target="https://files.taxfoundation.org/20221025125311/2023-State-Business-Tax-Climate-Index1.pdf?_gl=1*uregt3*_ga*MzQyNjUzOTk4LjE2NjgwMDg0Njc.*_ga_FP7KWDV08V*MTY2ODAwODQ2Ny4xLjEuMTY2ODAwODczNC42MC4wLjA." TargetMode="External"/><Relationship Id="rId2" Type="http://schemas.openxmlformats.org/officeDocument/2006/relationships/tags" Target="../tags/tag55.xml"/><Relationship Id="rId1" Type="http://schemas.openxmlformats.org/officeDocument/2006/relationships/themeOverride" Target="../theme/themeOverride23.xml"/><Relationship Id="rId6" Type="http://schemas.openxmlformats.org/officeDocument/2006/relationships/image" Target="../media/image44.emf"/><Relationship Id="rId5" Type="http://schemas.openxmlformats.org/officeDocument/2006/relationships/oleObject" Target="../embeddings/oleObject54.bin"/><Relationship Id="rId4" Type="http://schemas.openxmlformats.org/officeDocument/2006/relationships/image" Target="../media/image1.png"/><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1.xml"/><Relationship Id="rId7" Type="http://schemas.openxmlformats.org/officeDocument/2006/relationships/image" Target="../media/image45.emf"/><Relationship Id="rId2" Type="http://schemas.openxmlformats.org/officeDocument/2006/relationships/tags" Target="../tags/tag15.xml"/><Relationship Id="rId1" Type="http://schemas.openxmlformats.org/officeDocument/2006/relationships/themeOverride" Target="../theme/themeOverride2.xml"/><Relationship Id="rId6" Type="http://schemas.openxmlformats.org/officeDocument/2006/relationships/oleObject" Target="../embeddings/oleObject14.bin"/><Relationship Id="rId5" Type="http://schemas.openxmlformats.org/officeDocument/2006/relationships/image" Target="../media/image1.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1.xml"/><Relationship Id="rId7" Type="http://schemas.openxmlformats.org/officeDocument/2006/relationships/image" Target="../media/image45.emf"/><Relationship Id="rId2" Type="http://schemas.openxmlformats.org/officeDocument/2006/relationships/tags" Target="../tags/tag16.xml"/><Relationship Id="rId1" Type="http://schemas.openxmlformats.org/officeDocument/2006/relationships/themeOverride" Target="../theme/themeOverride3.xml"/><Relationship Id="rId6" Type="http://schemas.openxmlformats.org/officeDocument/2006/relationships/oleObject" Target="../embeddings/oleObject15.bin"/><Relationship Id="rId5" Type="http://schemas.openxmlformats.org/officeDocument/2006/relationships/image" Target="../media/image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5.xml"/><Relationship Id="rId1" Type="http://schemas.openxmlformats.org/officeDocument/2006/relationships/tags" Target="../tags/tag17.xml"/><Relationship Id="rId5" Type="http://schemas.openxmlformats.org/officeDocument/2006/relationships/image" Target="../media/image17.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18.xml"/><Relationship Id="rId5" Type="http://schemas.openxmlformats.org/officeDocument/2006/relationships/image" Target="../media/image47.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svg"/><Relationship Id="rId26" Type="http://schemas.openxmlformats.org/officeDocument/2006/relationships/image" Target="../media/image61.svg"/><Relationship Id="rId3" Type="http://schemas.openxmlformats.org/officeDocument/2006/relationships/slideLayout" Target="../slideLayouts/slideLayout239.xml"/><Relationship Id="rId21" Type="http://schemas.openxmlformats.org/officeDocument/2006/relationships/image" Target="../media/image56.png"/><Relationship Id="rId34" Type="http://schemas.openxmlformats.org/officeDocument/2006/relationships/image" Target="../media/image69.svg"/><Relationship Id="rId7" Type="http://schemas.openxmlformats.org/officeDocument/2006/relationships/image" Target="../media/image45.emf"/><Relationship Id="rId12" Type="http://schemas.microsoft.com/office/2007/relationships/diagramDrawing" Target="../diagrams/drawing1.xml"/><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8.png"/><Relationship Id="rId2" Type="http://schemas.openxmlformats.org/officeDocument/2006/relationships/tags" Target="../tags/tag19.xml"/><Relationship Id="rId16" Type="http://schemas.openxmlformats.org/officeDocument/2006/relationships/image" Target="../media/image51.svg"/><Relationship Id="rId20" Type="http://schemas.openxmlformats.org/officeDocument/2006/relationships/image" Target="../media/image55.svg"/><Relationship Id="rId29" Type="http://schemas.openxmlformats.org/officeDocument/2006/relationships/image" Target="../media/image64.png"/><Relationship Id="rId1" Type="http://schemas.openxmlformats.org/officeDocument/2006/relationships/themeOverride" Target="../theme/themeOverride4.xml"/><Relationship Id="rId6" Type="http://schemas.openxmlformats.org/officeDocument/2006/relationships/oleObject" Target="../embeddings/oleObject18.bin"/><Relationship Id="rId11" Type="http://schemas.openxmlformats.org/officeDocument/2006/relationships/diagramColors" Target="../diagrams/colors1.xml"/><Relationship Id="rId24" Type="http://schemas.openxmlformats.org/officeDocument/2006/relationships/image" Target="../media/image59.svg"/><Relationship Id="rId32" Type="http://schemas.openxmlformats.org/officeDocument/2006/relationships/image" Target="../media/image67.svg"/><Relationship Id="rId5" Type="http://schemas.openxmlformats.org/officeDocument/2006/relationships/image" Target="../media/image1.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3.svg"/><Relationship Id="rId10" Type="http://schemas.openxmlformats.org/officeDocument/2006/relationships/diagramQuickStyle" Target="../diagrams/quickStyle1.xml"/><Relationship Id="rId19" Type="http://schemas.openxmlformats.org/officeDocument/2006/relationships/image" Target="../media/image54.png"/><Relationship Id="rId31" Type="http://schemas.openxmlformats.org/officeDocument/2006/relationships/image" Target="../media/image66.png"/><Relationship Id="rId4" Type="http://schemas.openxmlformats.org/officeDocument/2006/relationships/notesSlide" Target="../notesSlides/notesSlide9.xml"/><Relationship Id="rId9" Type="http://schemas.openxmlformats.org/officeDocument/2006/relationships/diagramLayout" Target="../diagrams/layout1.xml"/><Relationship Id="rId14" Type="http://schemas.openxmlformats.org/officeDocument/2006/relationships/image" Target="../media/image49.svg"/><Relationship Id="rId22" Type="http://schemas.openxmlformats.org/officeDocument/2006/relationships/image" Target="../media/image57.svg"/><Relationship Id="rId27" Type="http://schemas.openxmlformats.org/officeDocument/2006/relationships/image" Target="../media/image62.png"/><Relationship Id="rId30" Type="http://schemas.openxmlformats.org/officeDocument/2006/relationships/image" Target="../media/image65.svg"/><Relationship Id="rId8"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wdUpDiag">
          <a:fgClr>
            <a:schemeClr val="tx2">
              <a:lumMod val="75000"/>
              <a:lumOff val="25000"/>
            </a:schemeClr>
          </a:fgClr>
          <a:bgClr>
            <a:schemeClr val="accent1">
              <a:lumMod val="90000"/>
              <a:lumOff val="10000"/>
            </a:schemeClr>
          </a:bgClr>
        </a:pattFill>
        <a:effectLst/>
      </p:bgPr>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extLst>
              <p:ext uri="{D42A27DB-BD31-4B8C-83A1-F6EECF244321}">
                <p14:modId xmlns:p14="http://schemas.microsoft.com/office/powerpoint/2010/main" val="4249396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5">
            <a:extLst>
              <a:ext uri="{FF2B5EF4-FFF2-40B4-BE49-F238E27FC236}">
                <a16:creationId xmlns:a16="http://schemas.microsoft.com/office/drawing/2014/main" id="{85EDB4D3-DEA2-8501-79FC-1BF1F8C2DC0E}"/>
              </a:ext>
            </a:extLst>
          </p:cNvPr>
          <p:cNvSpPr txBox="1">
            <a:spLocks/>
          </p:cNvSpPr>
          <p:nvPr/>
        </p:nvSpPr>
        <p:spPr>
          <a:xfrm>
            <a:off x="1754" y="2995369"/>
            <a:ext cx="9140493" cy="867263"/>
          </a:xfrm>
          <a:prstGeom prst="rect">
            <a:avLst/>
          </a:prstGeom>
          <a:solidFill>
            <a:schemeClr val="bg1"/>
          </a:solid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gn="ctr">
              <a:lnSpc>
                <a:spcPct val="100000"/>
              </a:lnSpc>
            </a:pPr>
            <a:r>
              <a:rPr lang="en-US" sz="3600" dirty="0">
                <a:latin typeface="Verlag Bold" pitchFamily="2" charset="0"/>
              </a:rPr>
              <a:t>COMPETE TO WIN</a:t>
            </a:r>
            <a:endParaRPr lang="en-US" sz="2400" dirty="0">
              <a:latin typeface="Verlag Bold" pitchFamily="2" charset="0"/>
            </a:endParaRPr>
          </a:p>
        </p:txBody>
      </p:sp>
      <p:cxnSp>
        <p:nvCxnSpPr>
          <p:cNvPr id="24" name="Straight Connector 23">
            <a:extLst>
              <a:ext uri="{FF2B5EF4-FFF2-40B4-BE49-F238E27FC236}">
                <a16:creationId xmlns:a16="http://schemas.microsoft.com/office/drawing/2014/main" id="{FFBF2AD6-CFEC-F103-1A33-AF56FD87D34A}"/>
              </a:ext>
            </a:extLst>
          </p:cNvPr>
          <p:cNvCxnSpPr>
            <a:cxnSpLocks/>
          </p:cNvCxnSpPr>
          <p:nvPr/>
        </p:nvCxnSpPr>
        <p:spPr>
          <a:xfrm>
            <a:off x="-6597" y="3815497"/>
            <a:ext cx="9153144"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4B7990E-9015-87F9-408E-A578B56C6656}"/>
              </a:ext>
            </a:extLst>
          </p:cNvPr>
          <p:cNvCxnSpPr/>
          <p:nvPr/>
        </p:nvCxnSpPr>
        <p:spPr>
          <a:xfrm>
            <a:off x="-583" y="3041086"/>
            <a:ext cx="9153144"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pic>
        <p:nvPicPr>
          <p:cNvPr id="1026" name="Picture 2" descr="Seal Pin for 74">
            <a:extLst>
              <a:ext uri="{FF2B5EF4-FFF2-40B4-BE49-F238E27FC236}">
                <a16:creationId xmlns:a16="http://schemas.microsoft.com/office/drawing/2014/main" id="{589BB742-A7E7-1080-86B9-6057058DFDB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59380" y="517222"/>
            <a:ext cx="2214562" cy="2214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071752"/>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399429" y="2995235"/>
            <a:ext cx="4833803"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Unleash a Talented Workforce</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D643A3EC-E3A7-5015-0C5F-0270C4D48340}"/>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12700">
              <a:buFont typeface="Arial" panose="020B0604020202020204" pitchFamily="34" charset="0"/>
              <a:buNone/>
              <a:defRPr sz="900" b="1">
                <a:solidFill>
                  <a:schemeClr val="accent1"/>
                </a:solidFill>
                <a:latin typeface="Verlag Bold" pitchFamily="2" charset="0"/>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fld id="{078C017C-E1B9-8443-B047-B08AAA027B45}" type="slidenum">
              <a:rPr lang="en-US"/>
              <a:pPr/>
              <a:t>9</a:t>
            </a:fld>
            <a:endParaRPr lang="en-US" dirty="0"/>
          </a:p>
        </p:txBody>
      </p:sp>
      <p:cxnSp>
        <p:nvCxnSpPr>
          <p:cNvPr id="4" name="Straight Connector 3">
            <a:extLst>
              <a:ext uri="{FF2B5EF4-FFF2-40B4-BE49-F238E27FC236}">
                <a16:creationId xmlns:a16="http://schemas.microsoft.com/office/drawing/2014/main" id="{8B7F2EFE-6707-E284-442D-8964DA98B4B2}"/>
              </a:ext>
            </a:extLst>
          </p:cNvPr>
          <p:cNvCxnSpPr>
            <a:cxnSpLocks/>
          </p:cNvCxnSpPr>
          <p:nvPr/>
        </p:nvCxnSpPr>
        <p:spPr>
          <a:xfrm>
            <a:off x="1399430" y="3991231"/>
            <a:ext cx="56204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619295"/>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260498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1799" y="961390"/>
            <a:ext cx="8358240" cy="5597601"/>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Grow Virginia’s workforce, improve connections between talent and businesses, and give Virginians the skills to meet employers’ needs</a:t>
            </a:r>
          </a:p>
          <a:p>
            <a:pPr marL="0" lvl="2" indent="0">
              <a:buNone/>
            </a:pPr>
            <a:endParaRPr lang="en-US" sz="600" dirty="0"/>
          </a:p>
          <a:p>
            <a:pPr marL="0" lvl="2" indent="0">
              <a:buNone/>
            </a:pPr>
            <a:r>
              <a:rPr lang="en-US" sz="1500" b="1" dirty="0">
                <a:solidFill>
                  <a:schemeClr val="accent1"/>
                </a:solidFill>
              </a:rPr>
              <a:t>Key issues</a:t>
            </a:r>
          </a:p>
          <a:p>
            <a:pPr lvl="2"/>
            <a:r>
              <a:rPr lang="en-US" sz="1500" dirty="0"/>
              <a:t>Many of Virginia’s employment metrics (labor force participation rate, jobs recovered, open positions) continue to lag pre-pandemic levels while many competitors have seen growth in these areas</a:t>
            </a:r>
          </a:p>
          <a:p>
            <a:pPr lvl="2"/>
            <a:r>
              <a:rPr lang="en-US" sz="1500" dirty="0"/>
              <a:t>Virginia is losing residents to competitors, with over 100,000 Virginians moving to other states from 2013-2021</a:t>
            </a:r>
          </a:p>
          <a:p>
            <a:pPr lvl="2"/>
            <a:r>
              <a:rPr lang="en-US" sz="1500" dirty="0"/>
              <a:t>Virginia’s fragmented network of workforce development programs spans multiple entities, creating opportunities for enhanced efficiencies</a:t>
            </a:r>
          </a:p>
          <a:p>
            <a:pPr marL="0" lvl="2" indent="0">
              <a:buNone/>
            </a:pPr>
            <a:endParaRPr lang="en-US" sz="600" dirty="0"/>
          </a:p>
          <a:p>
            <a:pPr marL="0" lvl="2" indent="0">
              <a:buNone/>
            </a:pPr>
            <a:r>
              <a:rPr lang="en-US" sz="1500" b="1" dirty="0">
                <a:solidFill>
                  <a:schemeClr val="accent1"/>
                </a:solidFill>
              </a:rPr>
              <a:t>Initiatives</a:t>
            </a:r>
          </a:p>
          <a:p>
            <a:pPr lvl="2"/>
            <a:r>
              <a:rPr lang="en-US" sz="1500" dirty="0"/>
              <a:t>Consolidate Virginia’s numerous workforce development programs into a single, centralized state agency to promote collaboration and regional flexibility, improve job placement performance tracking, enhance access to workforce information and program access for job seekers, and better meet the needs of businesses</a:t>
            </a:r>
          </a:p>
          <a:p>
            <a:pPr lvl="2"/>
            <a:r>
              <a:rPr lang="en-US" sz="1500" dirty="0"/>
              <a:t>Deploy accelerator programs to provide opportunities for every Virginia high schooler to graduate with a credential or associate degree, promoting college and career readiness among high school students</a:t>
            </a:r>
          </a:p>
          <a:p>
            <a:pPr lvl="2"/>
            <a:r>
              <a:rPr lang="en-US" sz="1500" dirty="0"/>
              <a:t>Accelerate career-ready workforce programs, including community college/K-12 partnerships, expanded work-based learning opportunities such as internship and apprenticeship programs, accelerated credentialing, and career navigation resources</a:t>
            </a:r>
          </a:p>
          <a:p>
            <a:pPr lvl="2"/>
            <a:r>
              <a:rPr lang="en-US" sz="1500" dirty="0"/>
              <a:t>Invest in quality-of-life amenities and tourism assets such as outdoor recreation offerings, arts and culture venues, vibrant downtowns, and transportation infrastructure to attract and retain young talent to backfill workers lost through a surge in retirements</a:t>
            </a:r>
          </a:p>
          <a:p>
            <a:pPr lvl="2"/>
            <a:r>
              <a:rPr lang="en-US" sz="1500" dirty="0"/>
              <a:t>Develop strategies for rural development including additional dedicated resources to secure more economic development wins and drive employment growth in rural Virginia</a:t>
            </a:r>
            <a:endParaRPr lang="en-US" b="1" dirty="0">
              <a:solidFill>
                <a:schemeClr val="accent1"/>
              </a:solidFill>
              <a:highlight>
                <a:srgbClr val="FFFF00"/>
              </a:highlight>
              <a:cs typeface="Arial"/>
            </a:endParaRPr>
          </a:p>
        </p:txBody>
      </p:sp>
      <p:sp>
        <p:nvSpPr>
          <p:cNvPr id="3" name="Title 2">
            <a:extLst>
              <a:ext uri="{FF2B5EF4-FFF2-40B4-BE49-F238E27FC236}">
                <a16:creationId xmlns:a16="http://schemas.microsoft.com/office/drawing/2014/main" id="{D2C3D60C-DE1C-0DF0-7EF7-0069ABF6B7EB}"/>
              </a:ext>
            </a:extLst>
          </p:cNvPr>
          <p:cNvSpPr>
            <a:spLocks noGrp="1"/>
          </p:cNvSpPr>
          <p:nvPr>
            <p:ph type="title"/>
          </p:nvPr>
        </p:nvSpPr>
        <p:spPr>
          <a:xfrm>
            <a:off x="431799" y="244633"/>
            <a:ext cx="8280400" cy="567394"/>
          </a:xfrm>
        </p:spPr>
        <p:txBody>
          <a:bodyPr vert="horz"/>
          <a:lstStyle/>
          <a:p>
            <a:r>
              <a:rPr lang="en-US" dirty="0"/>
              <a:t>UNLEASH A TALENTED WORKFORCE: WORKFORCE DEVELOPMENT &amp; GROWTH</a:t>
            </a:r>
          </a:p>
        </p:txBody>
      </p:sp>
      <p:sp>
        <p:nvSpPr>
          <p:cNvPr id="23" name="Slide Number Placeholder 4">
            <a:extLst>
              <a:ext uri="{FF2B5EF4-FFF2-40B4-BE49-F238E27FC236}">
                <a16:creationId xmlns:a16="http://schemas.microsoft.com/office/drawing/2014/main" id="{17B7EED0-CAD2-C813-C9C9-EF3A31E4FE68}"/>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10</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2238093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45F2DF-E734-3651-31E1-F6705F213FBA}"/>
              </a:ext>
            </a:extLst>
          </p:cNvPr>
          <p:cNvGraphicFramePr>
            <a:graphicFrameLocks noChangeAspect="1"/>
          </p:cNvGraphicFramePr>
          <p:nvPr>
            <p:custDataLst>
              <p:tags r:id="rId1"/>
            </p:custDataLst>
            <p:extLst>
              <p:ext uri="{D42A27DB-BD31-4B8C-83A1-F6EECF244321}">
                <p14:modId xmlns:p14="http://schemas.microsoft.com/office/powerpoint/2010/main" val="2967129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Object 5" hidden="1">
                        <a:extLst>
                          <a:ext uri="{FF2B5EF4-FFF2-40B4-BE49-F238E27FC236}">
                            <a16:creationId xmlns:a16="http://schemas.microsoft.com/office/drawing/2014/main" id="{5745F2DF-E734-3651-31E1-F6705F213F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420021-C4B9-4BEC-B0DC-007E9052F9F5}"/>
              </a:ext>
            </a:extLst>
          </p:cNvPr>
          <p:cNvSpPr>
            <a:spLocks noGrp="1"/>
          </p:cNvSpPr>
          <p:nvPr>
            <p:ph type="title"/>
          </p:nvPr>
        </p:nvSpPr>
        <p:spPr>
          <a:xfrm>
            <a:off x="267747" y="490365"/>
            <a:ext cx="8608505" cy="567394"/>
          </a:xfrm>
        </p:spPr>
        <p:txBody>
          <a:bodyPr vert="horz"/>
          <a:lstStyle/>
          <a:p>
            <a:r>
              <a:rPr lang="en-US" dirty="0">
                <a:latin typeface="Verlag Bold" pitchFamily="2" charset="0"/>
              </a:rPr>
              <a:t>Virginia’s fragmented workforce development environment spans multiple state agencies and secretariats</a:t>
            </a:r>
            <a:endParaRPr lang="en-US" dirty="0">
              <a:solidFill>
                <a:srgbClr val="B52C19"/>
              </a:solidFill>
              <a:latin typeface="Verlag Bold" pitchFamily="2" charset="0"/>
            </a:endParaRPr>
          </a:p>
        </p:txBody>
      </p:sp>
      <p:sp>
        <p:nvSpPr>
          <p:cNvPr id="4" name="Subtitle 3">
            <a:extLst>
              <a:ext uri="{FF2B5EF4-FFF2-40B4-BE49-F238E27FC236}">
                <a16:creationId xmlns:a16="http://schemas.microsoft.com/office/drawing/2014/main" id="{C6524CEA-9BF5-468B-A203-D9C7664CB49F}"/>
              </a:ext>
            </a:extLst>
          </p:cNvPr>
          <p:cNvSpPr>
            <a:spLocks noGrp="1"/>
          </p:cNvSpPr>
          <p:nvPr>
            <p:ph type="subTitle" sz="quarter" idx="1000"/>
          </p:nvPr>
        </p:nvSpPr>
        <p:spPr/>
        <p:txBody>
          <a:bodyPr/>
          <a:lstStyle/>
          <a:p>
            <a:br>
              <a:rPr lang="en-US" dirty="0"/>
            </a:br>
            <a:br>
              <a:rPr lang="en-US" dirty="0">
                <a:latin typeface="Verlag Book" pitchFamily="2" charset="0"/>
              </a:rPr>
            </a:br>
            <a:r>
              <a:rPr lang="en-US" dirty="0">
                <a:latin typeface="Verlag Book" pitchFamily="2" charset="0"/>
              </a:rPr>
              <a:t>Source: Secretary of Labor Bryan Slater’s presentation to Senate Finance Committee (11/18/22)</a:t>
            </a:r>
          </a:p>
        </p:txBody>
      </p:sp>
      <p:sp>
        <p:nvSpPr>
          <p:cNvPr id="5" name="Slide Number Placeholder 4">
            <a:extLst>
              <a:ext uri="{FF2B5EF4-FFF2-40B4-BE49-F238E27FC236}">
                <a16:creationId xmlns:a16="http://schemas.microsoft.com/office/drawing/2014/main" id="{0217BA43-2843-4F2B-8234-4E1D5013B5E0}"/>
              </a:ext>
            </a:extLst>
          </p:cNvPr>
          <p:cNvSpPr>
            <a:spLocks noGrp="1"/>
          </p:cNvSpPr>
          <p:nvPr>
            <p:ph type="sldNum" sz="quarter" idx="103"/>
          </p:nvPr>
        </p:nvSpPr>
        <p:spPr>
          <a:noFill/>
          <a:ln>
            <a:noFill/>
          </a:ln>
        </p:spPr>
        <p:txBody>
          <a:bodyPr vert="horz" wrap="square" lIns="0" tIns="0" rIns="0" bIns="0" rtlCol="0" anchor="ctr">
            <a:noAutofit/>
          </a:bodyPr>
          <a:lstStyle/>
          <a:p>
            <a:pPr marL="12700"/>
            <a:fld id="{078C017C-E1B9-8443-B047-B08AAA027B45}" type="slidenum">
              <a:rPr lang="en-US">
                <a:latin typeface="Verlag Bold" pitchFamily="2" charset="0"/>
              </a:rPr>
              <a:pPr marL="12700"/>
              <a:t>11</a:t>
            </a:fld>
            <a:endParaRPr lang="en-US" dirty="0">
              <a:latin typeface="Verlag Bold" pitchFamily="2" charset="0"/>
            </a:endParaRPr>
          </a:p>
        </p:txBody>
      </p:sp>
      <p:sp>
        <p:nvSpPr>
          <p:cNvPr id="9" name="TextBox 8">
            <a:extLst>
              <a:ext uri="{FF2B5EF4-FFF2-40B4-BE49-F238E27FC236}">
                <a16:creationId xmlns:a16="http://schemas.microsoft.com/office/drawing/2014/main" id="{ED394696-92A0-0F0B-C5E6-FAE07240FBC2}"/>
              </a:ext>
            </a:extLst>
          </p:cNvPr>
          <p:cNvSpPr txBox="1"/>
          <p:nvPr/>
        </p:nvSpPr>
        <p:spPr>
          <a:xfrm>
            <a:off x="8534400" y="5301343"/>
            <a:ext cx="435429" cy="293914"/>
          </a:xfrm>
          <a:prstGeom prst="rect">
            <a:avLst/>
          </a:prstGeom>
          <a:solidFill>
            <a:schemeClr val="bg1"/>
          </a:solidFill>
        </p:spPr>
        <p:txBody>
          <a:bodyPr vert="horz" wrap="square" lIns="0" tIns="0" rIns="0" bIns="0" rtlCol="0" anchor="t">
            <a:spAutoFit/>
          </a:bodyPr>
          <a:lstStyle/>
          <a:p>
            <a:pPr algn="l"/>
            <a:endParaRPr lang="en-US" sz="1400" dirty="0">
              <a:latin typeface="Arial" charset="0"/>
              <a:ea typeface="Arial" charset="0"/>
              <a:cs typeface="Arial" charset="0"/>
            </a:endParaRPr>
          </a:p>
        </p:txBody>
      </p:sp>
      <p:sp>
        <p:nvSpPr>
          <p:cNvPr id="10" name="TextBox 9">
            <a:extLst>
              <a:ext uri="{FF2B5EF4-FFF2-40B4-BE49-F238E27FC236}">
                <a16:creationId xmlns:a16="http://schemas.microsoft.com/office/drawing/2014/main" id="{95F8354E-C470-00F7-7CC5-D80453FECE62}"/>
              </a:ext>
            </a:extLst>
          </p:cNvPr>
          <p:cNvSpPr txBox="1"/>
          <p:nvPr/>
        </p:nvSpPr>
        <p:spPr>
          <a:xfrm>
            <a:off x="174172" y="5406714"/>
            <a:ext cx="2340430" cy="188543"/>
          </a:xfrm>
          <a:prstGeom prst="rect">
            <a:avLst/>
          </a:prstGeom>
          <a:solidFill>
            <a:schemeClr val="bg1"/>
          </a:solidFill>
        </p:spPr>
        <p:txBody>
          <a:bodyPr vert="horz" wrap="square" lIns="0" tIns="0" rIns="0" bIns="0" rtlCol="0" anchor="t">
            <a:spAutoFit/>
          </a:bodyPr>
          <a:lstStyle/>
          <a:p>
            <a:pPr algn="l"/>
            <a:endParaRPr lang="en-US" sz="1400" dirty="0">
              <a:latin typeface="Arial" charset="0"/>
              <a:ea typeface="Arial" charset="0"/>
              <a:cs typeface="Arial" charset="0"/>
            </a:endParaRPr>
          </a:p>
        </p:txBody>
      </p:sp>
      <p:pic>
        <p:nvPicPr>
          <p:cNvPr id="14" name="Picture 13">
            <a:extLst>
              <a:ext uri="{FF2B5EF4-FFF2-40B4-BE49-F238E27FC236}">
                <a16:creationId xmlns:a16="http://schemas.microsoft.com/office/drawing/2014/main" id="{C578003B-BBE6-2A57-032A-B3C943D15DB5}"/>
              </a:ext>
            </a:extLst>
          </p:cNvPr>
          <p:cNvPicPr>
            <a:picLocks noChangeAspect="1"/>
          </p:cNvPicPr>
          <p:nvPr/>
        </p:nvPicPr>
        <p:blipFill rotWithShape="1">
          <a:blip r:embed="rId6">
            <a:extLst>
              <a:ext uri="{28A0092B-C50C-407E-A947-70E740481C1C}">
                <a14:useLocalDpi xmlns:a14="http://schemas.microsoft.com/office/drawing/2010/main" val="0"/>
              </a:ext>
            </a:extLst>
          </a:blip>
          <a:srcRect t="16019" b="46127"/>
          <a:stretch/>
        </p:blipFill>
        <p:spPr>
          <a:xfrm>
            <a:off x="0" y="1571836"/>
            <a:ext cx="9104952" cy="4468585"/>
          </a:xfrm>
          <a:prstGeom prst="rect">
            <a:avLst/>
          </a:prstGeom>
        </p:spPr>
      </p:pic>
    </p:spTree>
    <p:extLst>
      <p:ext uri="{BB962C8B-B14F-4D97-AF65-F5344CB8AC3E}">
        <p14:creationId xmlns:p14="http://schemas.microsoft.com/office/powerpoint/2010/main" val="3094327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F86AA81-B9C4-0876-4C78-91488846EF68}"/>
              </a:ext>
            </a:extLst>
          </p:cNvPr>
          <p:cNvGraphicFramePr>
            <a:graphicFrameLocks noChangeAspect="1"/>
          </p:cNvGraphicFramePr>
          <p:nvPr>
            <p:custDataLst>
              <p:tags r:id="rId2"/>
            </p:custDataLst>
            <p:extLst>
              <p:ext uri="{D42A27DB-BD31-4B8C-83A1-F6EECF244321}">
                <p14:modId xmlns:p14="http://schemas.microsoft.com/office/powerpoint/2010/main" val="3017536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12" name="Object 11" hidden="1">
                        <a:extLst>
                          <a:ext uri="{FF2B5EF4-FFF2-40B4-BE49-F238E27FC236}">
                            <a16:creationId xmlns:a16="http://schemas.microsoft.com/office/drawing/2014/main" id="{FF86AA81-B9C4-0876-4C78-91488846EF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id="{A32CF745-409E-49CF-BA08-17775F76B3A7}"/>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a:stretch/>
        </p:blipFill>
        <p:spPr>
          <a:xfrm>
            <a:off x="-2918" y="0"/>
            <a:ext cx="9143411" cy="6857986"/>
          </a:xfrm>
        </p:spPr>
      </p:pic>
      <p:sp>
        <p:nvSpPr>
          <p:cNvPr id="3" name="Title 2">
            <a:extLst>
              <a:ext uri="{FF2B5EF4-FFF2-40B4-BE49-F238E27FC236}">
                <a16:creationId xmlns:a16="http://schemas.microsoft.com/office/drawing/2014/main" id="{42420021-C4B9-4BEC-B0DC-007E9052F9F5}"/>
              </a:ext>
            </a:extLst>
          </p:cNvPr>
          <p:cNvSpPr>
            <a:spLocks noGrp="1"/>
          </p:cNvSpPr>
          <p:nvPr>
            <p:ph type="title"/>
          </p:nvPr>
        </p:nvSpPr>
        <p:spPr/>
        <p:txBody>
          <a:bodyPr vert="horz"/>
          <a:lstStyle/>
          <a:p>
            <a:r>
              <a:rPr lang="en-US" dirty="0">
                <a:latin typeface="Verlag Bold" pitchFamily="2" charset="0"/>
              </a:rPr>
              <a:t>Virginia has seen the progressive recovery of jobs lost, with several regions reaching pre-pandemic employment levels</a:t>
            </a:r>
          </a:p>
        </p:txBody>
      </p:sp>
      <p:sp>
        <p:nvSpPr>
          <p:cNvPr id="4" name="Subtitle 3">
            <a:extLst>
              <a:ext uri="{FF2B5EF4-FFF2-40B4-BE49-F238E27FC236}">
                <a16:creationId xmlns:a16="http://schemas.microsoft.com/office/drawing/2014/main" id="{C6524CEA-9BF5-468B-A203-D9C7664CB49F}"/>
              </a:ext>
            </a:extLst>
          </p:cNvPr>
          <p:cNvSpPr>
            <a:spLocks noGrp="1"/>
          </p:cNvSpPr>
          <p:nvPr>
            <p:ph type="subTitle" sz="quarter" idx="1000"/>
          </p:nvPr>
        </p:nvSpPr>
        <p:spPr/>
        <p:txBody>
          <a:bodyPr/>
          <a:lstStyle/>
          <a:p>
            <a:br>
              <a:rPr lang="en-US" dirty="0">
                <a:latin typeface="Verlag Book" pitchFamily="2" charset="0"/>
              </a:rPr>
            </a:br>
            <a:r>
              <a:rPr lang="en-US" dirty="0">
                <a:latin typeface="Verlag Book" pitchFamily="2" charset="0"/>
              </a:rPr>
              <a:t>Source: Bureau of Labor Statistics, Local Area Unemployment Statistics</a:t>
            </a:r>
          </a:p>
        </p:txBody>
      </p:sp>
      <p:sp>
        <p:nvSpPr>
          <p:cNvPr id="5" name="Slide Number Placeholder 4">
            <a:extLst>
              <a:ext uri="{FF2B5EF4-FFF2-40B4-BE49-F238E27FC236}">
                <a16:creationId xmlns:a16="http://schemas.microsoft.com/office/drawing/2014/main" id="{0217BA43-2843-4F2B-8234-4E1D5013B5E0}"/>
              </a:ext>
            </a:extLst>
          </p:cNvPr>
          <p:cNvSpPr>
            <a:spLocks noGrp="1"/>
          </p:cNvSpPr>
          <p:nvPr>
            <p:ph type="sldNum" sz="quarter" idx="103"/>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lang="en-US">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2</a:t>
            </a:fld>
            <a:endParaRPr lang="en-US" dirty="0">
              <a:latin typeface="Verlag Bold" pitchFamily="2" charset="0"/>
            </a:endParaRPr>
          </a:p>
        </p:txBody>
      </p:sp>
      <p:sp>
        <p:nvSpPr>
          <p:cNvPr id="8" name="Rectangle 7">
            <a:extLst>
              <a:ext uri="{FF2B5EF4-FFF2-40B4-BE49-F238E27FC236}">
                <a16:creationId xmlns:a16="http://schemas.microsoft.com/office/drawing/2014/main" id="{F5A09ECF-9720-41A7-8E82-2D53C3A374E1}"/>
              </a:ext>
            </a:extLst>
          </p:cNvPr>
          <p:cNvSpPr/>
          <p:nvPr/>
        </p:nvSpPr>
        <p:spPr>
          <a:xfrm rot="10800000">
            <a:off x="1065266" y="1793357"/>
            <a:ext cx="2227151" cy="254180"/>
          </a:xfrm>
          <a:prstGeom prst="rect">
            <a:avLst/>
          </a:prstGeom>
          <a:gradFill flip="none" rotWithShape="1">
            <a:gsLst>
              <a:gs pos="39000">
                <a:srgbClr val="FEFEFE"/>
              </a:gs>
              <a:gs pos="14000">
                <a:srgbClr val="C5564B"/>
              </a:gs>
              <a:gs pos="60000">
                <a:srgbClr val="C5D3C6"/>
              </a:gs>
              <a:gs pos="0">
                <a:srgbClr val="BA2833"/>
              </a:gs>
              <a:gs pos="29000">
                <a:srgbClr val="DEA091"/>
              </a:gs>
              <a:gs pos="80000">
                <a:srgbClr val="6FA875"/>
              </a:gs>
              <a:gs pos="100000">
                <a:srgbClr val="438249"/>
              </a:gs>
            </a:gsLst>
            <a:lin ang="10800000" scaled="0"/>
            <a:tileRect/>
          </a:gra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F988274-779E-49C7-A425-43811008F89C}"/>
              </a:ext>
            </a:extLst>
          </p:cNvPr>
          <p:cNvSpPr txBox="1"/>
          <p:nvPr/>
        </p:nvSpPr>
        <p:spPr>
          <a:xfrm>
            <a:off x="249936" y="1828114"/>
            <a:ext cx="786903" cy="184666"/>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Verlag Book" pitchFamily="2" charset="0"/>
                <a:ea typeface="Arial" charset="0"/>
                <a:cs typeface="Arial" charset="0"/>
              </a:rPr>
              <a:t>   -4.6%</a:t>
            </a:r>
          </a:p>
        </p:txBody>
      </p:sp>
      <p:sp>
        <p:nvSpPr>
          <p:cNvPr id="10" name="TextBox 9">
            <a:extLst>
              <a:ext uri="{FF2B5EF4-FFF2-40B4-BE49-F238E27FC236}">
                <a16:creationId xmlns:a16="http://schemas.microsoft.com/office/drawing/2014/main" id="{F0915301-E84F-40E3-BCE1-95C948CDA342}"/>
              </a:ext>
            </a:extLst>
          </p:cNvPr>
          <p:cNvSpPr txBox="1"/>
          <p:nvPr/>
        </p:nvSpPr>
        <p:spPr>
          <a:xfrm>
            <a:off x="3276417" y="1828114"/>
            <a:ext cx="587244" cy="184666"/>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Verlag Book" pitchFamily="2" charset="0"/>
                <a:ea typeface="Arial" charset="0"/>
                <a:cs typeface="Arial" charset="0"/>
              </a:rPr>
              <a:t>  7.2%</a:t>
            </a:r>
          </a:p>
        </p:txBody>
      </p:sp>
      <p:sp>
        <p:nvSpPr>
          <p:cNvPr id="13" name="Isosceles Triangle 12">
            <a:extLst>
              <a:ext uri="{FF2B5EF4-FFF2-40B4-BE49-F238E27FC236}">
                <a16:creationId xmlns:a16="http://schemas.microsoft.com/office/drawing/2014/main" id="{60EA8601-EB43-483B-9244-B36E5F3ACAD0}"/>
              </a:ext>
            </a:extLst>
          </p:cNvPr>
          <p:cNvSpPr/>
          <p:nvPr/>
        </p:nvSpPr>
        <p:spPr>
          <a:xfrm>
            <a:off x="1305951" y="1992950"/>
            <a:ext cx="294850" cy="25418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200" kern="1200">
                <a:solidFill>
                  <a:schemeClr val="l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lt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TextBox 12">
            <a:extLst>
              <a:ext uri="{FF2B5EF4-FFF2-40B4-BE49-F238E27FC236}">
                <a16:creationId xmlns:a16="http://schemas.microsoft.com/office/drawing/2014/main" id="{9A2480CA-0ED0-4E23-AA87-0488734F0EFA}"/>
              </a:ext>
            </a:extLst>
          </p:cNvPr>
          <p:cNvSpPr txBox="1"/>
          <p:nvPr/>
        </p:nvSpPr>
        <p:spPr>
          <a:xfrm>
            <a:off x="1203483" y="2247131"/>
            <a:ext cx="1950719" cy="184666"/>
          </a:xfrm>
          <a:prstGeom prst="rect">
            <a:avLst/>
          </a:prstGeom>
        </p:spPr>
        <p:txBody>
          <a:bodyPr vert="horz" wrap="square" lIns="0" tIns="0" rIns="0" bIns="0" rtlCol="0" anchor="t">
            <a:sp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Verlag Book" pitchFamily="2" charset="0"/>
                <a:ea typeface="Arial" charset="0"/>
                <a:cs typeface="Arial" charset="0"/>
              </a:rPr>
              <a:t>Statewide </a:t>
            </a:r>
            <a:r>
              <a:rPr lang="en-US" dirty="0">
                <a:solidFill>
                  <a:srgbClr val="000000"/>
                </a:solidFill>
                <a:latin typeface="Verlag Book" pitchFamily="2" charset="0"/>
                <a:ea typeface="Arial" charset="0"/>
                <a:cs typeface="Arial" charset="0"/>
              </a:rPr>
              <a:t>% change</a:t>
            </a:r>
            <a:r>
              <a:rPr kumimoji="0" lang="en-US" b="0" i="0" u="none" strike="noStrike" kern="1200" cap="none" spc="0" normalizeH="0" baseline="0" noProof="0" dirty="0">
                <a:ln>
                  <a:noFill/>
                </a:ln>
                <a:solidFill>
                  <a:srgbClr val="000000"/>
                </a:solidFill>
                <a:effectLst/>
                <a:uLnTx/>
                <a:uFillTx/>
                <a:latin typeface="Verlag Book" pitchFamily="2" charset="0"/>
                <a:ea typeface="Arial" charset="0"/>
                <a:cs typeface="Arial" charset="0"/>
              </a:rPr>
              <a:t>: -2.6%</a:t>
            </a:r>
          </a:p>
        </p:txBody>
      </p:sp>
      <p:sp>
        <p:nvSpPr>
          <p:cNvPr id="15" name="Text Placeholder 4">
            <a:extLst>
              <a:ext uri="{FF2B5EF4-FFF2-40B4-BE49-F238E27FC236}">
                <a16:creationId xmlns:a16="http://schemas.microsoft.com/office/drawing/2014/main" id="{AC699264-37F4-4869-A86C-8FC357B502A8}"/>
              </a:ext>
            </a:extLst>
          </p:cNvPr>
          <p:cNvSpPr txBox="1">
            <a:spLocks/>
          </p:cNvSpPr>
          <p:nvPr/>
        </p:nvSpPr>
        <p:spPr>
          <a:xfrm>
            <a:off x="431799" y="1225964"/>
            <a:ext cx="4701989" cy="567393"/>
          </a:xfrm>
          <a:prstGeom prst="rect">
            <a:avLst/>
          </a:prstGeom>
        </p:spPr>
        <p:txBody>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pPr lvl="0">
              <a:spcAft>
                <a:spcPts val="0"/>
              </a:spcAft>
            </a:pPr>
            <a:r>
              <a:rPr kumimoji="0" lang="en-US" sz="1200" b="1" i="0" u="none" strike="noStrike" kern="1200" cap="none" spc="0" normalizeH="0" baseline="0" noProof="0" dirty="0">
                <a:ln>
                  <a:noFill/>
                </a:ln>
                <a:solidFill>
                  <a:srgbClr val="000000"/>
                </a:solidFill>
                <a:effectLst/>
                <a:uLnTx/>
                <a:uFillTx/>
                <a:latin typeface="Verlag Book" pitchFamily="2" charset="0"/>
              </a:rPr>
              <a:t>Employment change from Feb</a:t>
            </a:r>
            <a:r>
              <a:rPr lang="en-US" sz="1200" dirty="0">
                <a:solidFill>
                  <a:srgbClr val="000000"/>
                </a:solidFill>
                <a:latin typeface="Verlag Book" pitchFamily="2" charset="0"/>
              </a:rPr>
              <a:t> ‘2</a:t>
            </a:r>
            <a:r>
              <a:rPr kumimoji="0" lang="en-US" sz="1200" b="1" i="0" u="none" strike="noStrike" kern="1200" cap="none" spc="0" normalizeH="0" baseline="0" noProof="0" dirty="0">
                <a:ln>
                  <a:noFill/>
                </a:ln>
                <a:solidFill>
                  <a:srgbClr val="000000"/>
                </a:solidFill>
                <a:effectLst/>
                <a:uLnTx/>
                <a:uFillTx/>
                <a:latin typeface="Verlag Book" pitchFamily="2" charset="0"/>
              </a:rPr>
              <a:t>0 - </a:t>
            </a:r>
            <a:r>
              <a:rPr lang="en-US" sz="1200" dirty="0">
                <a:solidFill>
                  <a:srgbClr val="000000"/>
                </a:solidFill>
                <a:latin typeface="Verlag Book" pitchFamily="2" charset="0"/>
              </a:rPr>
              <a:t>Oct</a:t>
            </a:r>
            <a:r>
              <a:rPr kumimoji="0" lang="en-US" sz="1200" b="1" i="0" u="none" strike="noStrike" kern="1200" cap="none" spc="0" normalizeH="0" baseline="0" noProof="0" dirty="0">
                <a:ln>
                  <a:noFill/>
                </a:ln>
                <a:solidFill>
                  <a:srgbClr val="000000"/>
                </a:solidFill>
                <a:effectLst/>
                <a:uLnTx/>
                <a:uFillTx/>
                <a:latin typeface="Verlag Book" pitchFamily="2" charset="0"/>
              </a:rPr>
              <a:t> ‘22</a:t>
            </a:r>
          </a:p>
          <a:p>
            <a:pPr>
              <a:spcBef>
                <a:spcPts val="0"/>
              </a:spcBef>
            </a:pPr>
            <a:r>
              <a:rPr lang="en-US" sz="1200" b="0" dirty="0">
                <a:solidFill>
                  <a:schemeClr val="tx1"/>
                </a:solidFill>
                <a:latin typeface="Verlag Book" pitchFamily="2" charset="0"/>
              </a:rPr>
              <a:t>% | absolute employment change, not seasonally adjusted</a:t>
            </a:r>
          </a:p>
        </p:txBody>
      </p:sp>
      <p:cxnSp>
        <p:nvCxnSpPr>
          <p:cNvPr id="16" name="Straight Connector 15">
            <a:extLst>
              <a:ext uri="{FF2B5EF4-FFF2-40B4-BE49-F238E27FC236}">
                <a16:creationId xmlns:a16="http://schemas.microsoft.com/office/drawing/2014/main" id="{E5FC8927-95CA-4023-8E42-25CEA0FA9237}"/>
              </a:ext>
            </a:extLst>
          </p:cNvPr>
          <p:cNvCxnSpPr>
            <a:cxnSpLocks/>
          </p:cNvCxnSpPr>
          <p:nvPr/>
        </p:nvCxnSpPr>
        <p:spPr>
          <a:xfrm>
            <a:off x="515154" y="1641927"/>
            <a:ext cx="3963540" cy="0"/>
          </a:xfrm>
          <a:prstGeom prst="line">
            <a:avLst/>
          </a:prstGeom>
        </p:spPr>
        <p:style>
          <a:lnRef idx="3">
            <a:schemeClr val="dk1"/>
          </a:lnRef>
          <a:fillRef idx="0">
            <a:schemeClr val="dk1"/>
          </a:fillRef>
          <a:effectRef idx="2">
            <a:schemeClr val="dk1"/>
          </a:effectRef>
          <a:fontRef idx="minor">
            <a:schemeClr val="tx1"/>
          </a:fontRef>
        </p:style>
      </p:cxnSp>
      <p:graphicFrame>
        <p:nvGraphicFramePr>
          <p:cNvPr id="11" name="Chart 10">
            <a:extLst>
              <a:ext uri="{FF2B5EF4-FFF2-40B4-BE49-F238E27FC236}">
                <a16:creationId xmlns:a16="http://schemas.microsoft.com/office/drawing/2014/main" id="{1A954186-EA07-1CC9-E084-D102BB6F3480}"/>
              </a:ext>
            </a:extLst>
          </p:cNvPr>
          <p:cNvGraphicFramePr/>
          <p:nvPr/>
        </p:nvGraphicFramePr>
        <p:xfrm>
          <a:off x="3518" y="7743053"/>
          <a:ext cx="3702850" cy="1568966"/>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780101092"/>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399430" y="2966954"/>
            <a:ext cx="5446546"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Accelerate Site &amp; Infrastructure Development</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5FA50E4A-362B-BED5-CDD5-9D9A78E568FF}"/>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12700" marR="0" lvl="0" indent="0" fontAlgn="auto">
              <a:lnSpc>
                <a:spcPct val="100000"/>
              </a:lnSpc>
              <a:spcBef>
                <a:spcPts val="0"/>
              </a:spcBef>
              <a:spcAft>
                <a:spcPts val="0"/>
              </a:spcAft>
              <a:buClrTx/>
              <a:buSzTx/>
              <a:buFont typeface="Arial" panose="020B0604020202020204" pitchFamily="34" charset="0"/>
              <a:buNone/>
              <a:tabLst/>
              <a:defRPr sz="900" b="1">
                <a:solidFill>
                  <a:schemeClr val="accent1"/>
                </a:solidFill>
                <a:latin typeface="Verlag Bold" pitchFamily="2" charset="0"/>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fld id="{078C017C-E1B9-8443-B047-B08AAA027B45}" type="slidenum">
              <a:rPr lang="en-US"/>
              <a:pPr/>
              <a:t>13</a:t>
            </a:fld>
            <a:endParaRPr lang="en-US" dirty="0"/>
          </a:p>
        </p:txBody>
      </p:sp>
      <p:cxnSp>
        <p:nvCxnSpPr>
          <p:cNvPr id="4" name="Straight Connector 3">
            <a:extLst>
              <a:ext uri="{FF2B5EF4-FFF2-40B4-BE49-F238E27FC236}">
                <a16:creationId xmlns:a16="http://schemas.microsoft.com/office/drawing/2014/main" id="{3CA1A720-E815-656A-FB9C-1956C1953BD3}"/>
              </a:ext>
            </a:extLst>
          </p:cNvPr>
          <p:cNvCxnSpPr>
            <a:cxnSpLocks/>
          </p:cNvCxnSpPr>
          <p:nvPr/>
        </p:nvCxnSpPr>
        <p:spPr>
          <a:xfrm>
            <a:off x="1399430" y="3991231"/>
            <a:ext cx="56204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6977976"/>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381713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1800" y="1186125"/>
            <a:ext cx="8280400" cy="6072650"/>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Develop the sites and utilities to meet market demand, streamline Virginia’s permitting processes to increase speed to market, and proactively invest in the necessary infrastructure to support growth</a:t>
            </a:r>
          </a:p>
          <a:p>
            <a:pPr marL="0" lvl="2" indent="0">
              <a:buNone/>
            </a:pPr>
            <a:endParaRPr lang="en-US" sz="600" b="1" dirty="0">
              <a:solidFill>
                <a:schemeClr val="accent1"/>
              </a:solidFill>
            </a:endParaRPr>
          </a:p>
          <a:p>
            <a:pPr marL="0" lvl="2" indent="0">
              <a:buNone/>
            </a:pPr>
            <a:r>
              <a:rPr lang="en-US" sz="1500" b="1" dirty="0">
                <a:solidFill>
                  <a:schemeClr val="accent1"/>
                </a:solidFill>
              </a:rPr>
              <a:t>Key issues</a:t>
            </a:r>
          </a:p>
          <a:p>
            <a:pPr lvl="2"/>
            <a:r>
              <a:rPr lang="en-US" sz="1500" dirty="0"/>
              <a:t>Site Development</a:t>
            </a:r>
          </a:p>
          <a:p>
            <a:pPr lvl="3"/>
            <a:r>
              <a:rPr lang="en-US" sz="1500" dirty="0"/>
              <a:t>Lack of large business-ready sites and longevity of funding puts Virginia behind competitor states, especially for transformational projects</a:t>
            </a:r>
          </a:p>
          <a:p>
            <a:pPr lvl="3"/>
            <a:r>
              <a:rPr lang="en-US" sz="1500" dirty="0"/>
              <a:t>Lengthy and opaque permitting processes and other regulatory challenges reduce Virginia's ability to compete for economic development projects that prioritize speed and certainty</a:t>
            </a:r>
          </a:p>
          <a:p>
            <a:pPr lvl="2"/>
            <a:r>
              <a:rPr lang="en-US" sz="1500" dirty="0"/>
              <a:t>Energy</a:t>
            </a:r>
          </a:p>
          <a:p>
            <a:pPr lvl="3"/>
            <a:r>
              <a:rPr lang="en-US" sz="1500" dirty="0"/>
              <a:t>Virginia’s current renewable energy goals present risks related to electricity affordability and the reliability of the electrical grid, with a reliance on importing power from other states</a:t>
            </a:r>
          </a:p>
          <a:p>
            <a:pPr lvl="3"/>
            <a:r>
              <a:rPr lang="en-US" sz="1500" dirty="0"/>
              <a:t>The unpredictable nature of electricity costs creates risk for ratepayers and businesses, increasing cost of living and cost of doing business in Virginia</a:t>
            </a:r>
          </a:p>
          <a:p>
            <a:pPr lvl="3"/>
            <a:r>
              <a:rPr lang="en-US" sz="1500" dirty="0"/>
              <a:t>Complex regulatory processes present challenges to getting energy infrastructure to economic development sites in a timely manner</a:t>
            </a:r>
          </a:p>
        </p:txBody>
      </p:sp>
      <p:sp>
        <p:nvSpPr>
          <p:cNvPr id="3" name="Title 2">
            <a:extLst>
              <a:ext uri="{FF2B5EF4-FFF2-40B4-BE49-F238E27FC236}">
                <a16:creationId xmlns:a16="http://schemas.microsoft.com/office/drawing/2014/main" id="{D2C3D60C-DE1C-0DF0-7EF7-0069ABF6B7EB}"/>
              </a:ext>
            </a:extLst>
          </p:cNvPr>
          <p:cNvSpPr>
            <a:spLocks noGrp="1"/>
          </p:cNvSpPr>
          <p:nvPr>
            <p:ph type="title"/>
          </p:nvPr>
        </p:nvSpPr>
        <p:spPr>
          <a:xfrm>
            <a:off x="431800" y="344558"/>
            <a:ext cx="8280400" cy="567394"/>
          </a:xfrm>
        </p:spPr>
        <p:txBody>
          <a:bodyPr vert="horz"/>
          <a:lstStyle/>
          <a:p>
            <a:r>
              <a:rPr lang="en-US" dirty="0"/>
              <a:t>ACCELERATE SITE &amp; INFRASTRUCTURE DEVELOPMENT (1/2)</a:t>
            </a:r>
            <a:endParaRPr lang="en-US" dirty="0">
              <a:highlight>
                <a:srgbClr val="FFFF00"/>
              </a:highlight>
            </a:endParaRP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14</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30920911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63A89F-3657-F4B0-6FA3-F52EECB39407}"/>
              </a:ext>
            </a:extLst>
          </p:cNvPr>
          <p:cNvGraphicFramePr>
            <a:graphicFrameLocks noChangeAspect="1"/>
          </p:cNvGraphicFramePr>
          <p:nvPr>
            <p:custDataLst>
              <p:tags r:id="rId2"/>
            </p:custDataLst>
            <p:extLst>
              <p:ext uri="{D42A27DB-BD31-4B8C-83A1-F6EECF244321}">
                <p14:modId xmlns:p14="http://schemas.microsoft.com/office/powerpoint/2010/main" val="290301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31" imgH="232" progId="TCLayout.ActiveDocument.1">
                  <p:embed/>
                </p:oleObj>
              </mc:Choice>
              <mc:Fallback>
                <p:oleObj name="think-cell Slide" r:id="rId6" imgW="231" imgH="232" progId="TCLayout.ActiveDocument.1">
                  <p:embed/>
                  <p:pic>
                    <p:nvPicPr>
                      <p:cNvPr id="13" name="Object 12" hidden="1">
                        <a:extLst>
                          <a:ext uri="{FF2B5EF4-FFF2-40B4-BE49-F238E27FC236}">
                            <a16:creationId xmlns:a16="http://schemas.microsoft.com/office/drawing/2014/main" id="{6F63A89F-3657-F4B0-6FA3-F52EECB394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31799" y="652978"/>
            <a:ext cx="8406854" cy="567394"/>
          </a:xfrm>
        </p:spPr>
        <p:txBody>
          <a:bodyPr vert="horz"/>
          <a:lstStyle/>
          <a:p>
            <a:r>
              <a:rPr lang="en-US" dirty="0">
                <a:latin typeface="Verlag Bold" pitchFamily="2" charset="0"/>
              </a:rPr>
              <a:t>Virginia’s lack of project-ready sites has led to massive missed opportunities for the Commonwealth</a:t>
            </a:r>
          </a:p>
        </p:txBody>
      </p:sp>
      <p:sp>
        <p:nvSpPr>
          <p:cNvPr id="4" name="Subtitle 3"/>
          <p:cNvSpPr>
            <a:spLocks noGrp="1"/>
          </p:cNvSpPr>
          <p:nvPr>
            <p:ph type="subTitle" sz="quarter" idx="1000"/>
          </p:nvPr>
        </p:nvSpPr>
        <p:spPr>
          <a:xfrm>
            <a:off x="431799" y="5896947"/>
            <a:ext cx="8158943" cy="809336"/>
          </a:xfrm>
        </p:spPr>
        <p:txBody>
          <a:bodyPr/>
          <a:lstStyle/>
          <a:p>
            <a:pPr marL="4763" lvl="1" indent="0">
              <a:buNone/>
            </a:pPr>
            <a:r>
              <a:rPr lang="en-US" dirty="0">
                <a:latin typeface="Verlag Book" pitchFamily="2" charset="0"/>
              </a:rPr>
              <a:t>Source: Virginia Economic Development Partnership project data as of November 9, 2022</a:t>
            </a:r>
          </a:p>
        </p:txBody>
      </p:sp>
      <p:sp>
        <p:nvSpPr>
          <p:cNvPr id="6" name="Slide Number Placeholder 5"/>
          <p:cNvSpPr>
            <a:spLocks noGrp="1"/>
          </p:cNvSpPr>
          <p:nvPr>
            <p:ph type="sldNum" sz="quarter" idx="116"/>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5</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
        <p:nvSpPr>
          <p:cNvPr id="37" name="Rectangle 36">
            <a:extLst>
              <a:ext uri="{FF2B5EF4-FFF2-40B4-BE49-F238E27FC236}">
                <a16:creationId xmlns:a16="http://schemas.microsoft.com/office/drawing/2014/main" id="{D94FF5BF-2D44-48C5-830D-549C5ED747D1}"/>
              </a:ext>
            </a:extLst>
          </p:cNvPr>
          <p:cNvSpPr/>
          <p:nvPr/>
        </p:nvSpPr>
        <p:spPr>
          <a:xfrm>
            <a:off x="183732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A4A47A6-63E1-426F-A3BE-152D266BDA11}"/>
              </a:ext>
            </a:extLst>
          </p:cNvPr>
          <p:cNvSpPr/>
          <p:nvPr/>
        </p:nvSpPr>
        <p:spPr>
          <a:xfrm>
            <a:off x="264123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7B3A6C0F-4532-4B0A-80B5-ED6F0C6374CB}"/>
              </a:ext>
            </a:extLst>
          </p:cNvPr>
          <p:cNvSpPr/>
          <p:nvPr/>
        </p:nvSpPr>
        <p:spPr>
          <a:xfrm>
            <a:off x="1030891"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F95AF44F-E80F-96F8-61F2-8C6EEC13FBF8}"/>
              </a:ext>
            </a:extLst>
          </p:cNvPr>
          <p:cNvSpPr/>
          <p:nvPr/>
        </p:nvSpPr>
        <p:spPr>
          <a:xfrm>
            <a:off x="3451029" y="572989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C22076DB-7FB4-4EEE-E204-9F3FA09CD4D5}"/>
              </a:ext>
            </a:extLst>
          </p:cNvPr>
          <p:cNvSpPr/>
          <p:nvPr/>
        </p:nvSpPr>
        <p:spPr>
          <a:xfrm>
            <a:off x="4254939" y="578164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360FD103-297C-1F86-27B2-94AF8D6236F1}"/>
              </a:ext>
            </a:extLst>
          </p:cNvPr>
          <p:cNvSpPr/>
          <p:nvPr/>
        </p:nvSpPr>
        <p:spPr>
          <a:xfrm>
            <a:off x="5062062"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77F70986-6D31-7C47-A0DC-8287E7166DD4}"/>
              </a:ext>
            </a:extLst>
          </p:cNvPr>
          <p:cNvSpPr/>
          <p:nvPr/>
        </p:nvSpPr>
        <p:spPr>
          <a:xfrm>
            <a:off x="5846603"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AB63EDA9-9D48-6F99-FFC1-41D3FACF1256}"/>
              </a:ext>
            </a:extLst>
          </p:cNvPr>
          <p:cNvSpPr/>
          <p:nvPr/>
        </p:nvSpPr>
        <p:spPr>
          <a:xfrm>
            <a:off x="6650513"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TextBox 9">
            <a:extLst>
              <a:ext uri="{FF2B5EF4-FFF2-40B4-BE49-F238E27FC236}">
                <a16:creationId xmlns:a16="http://schemas.microsoft.com/office/drawing/2014/main" id="{4376B026-8A42-C30F-0CF4-3D5CD6E4BE44}"/>
              </a:ext>
            </a:extLst>
          </p:cNvPr>
          <p:cNvSpPr txBox="1"/>
          <p:nvPr/>
        </p:nvSpPr>
        <p:spPr>
          <a:xfrm>
            <a:off x="1139241" y="3660738"/>
            <a:ext cx="2882498" cy="416457"/>
          </a:xfrm>
          <a:prstGeom prst="rect">
            <a:avLst/>
          </a:prstGeom>
        </p:spPr>
        <p:txBody>
          <a:bodyPr vert="horz" wrap="square" lIns="0" tIns="0" rIns="0" bIns="0" rtlCol="0" anchor="t">
            <a:noAutofit/>
          </a:bodyPr>
          <a:lstStyle/>
          <a:p>
            <a:pPr marL="0" marR="0">
              <a:lnSpc>
                <a:spcPct val="107000"/>
              </a:lnSpc>
              <a:spcBef>
                <a:spcPts val="0"/>
              </a:spcBef>
              <a:spcAft>
                <a:spcPts val="800"/>
              </a:spcAft>
            </a:pPr>
            <a:r>
              <a:rPr lang="en-US" sz="2400" b="1" kern="1200" dirty="0">
                <a:solidFill>
                  <a:srgbClr val="002060"/>
                </a:solidFill>
                <a:effectLst/>
                <a:latin typeface="Verlag Book" pitchFamily="2" charset="0"/>
                <a:ea typeface="Arial" panose="020B0604020202020204" pitchFamily="34" charset="0"/>
                <a:cs typeface="Arial" panose="020B0604020202020204" pitchFamily="34" charset="0"/>
              </a:rPr>
              <a:t>Direct Jobs Forgone</a:t>
            </a:r>
            <a:endParaRPr lang="en-US" dirty="0">
              <a:effectLst/>
              <a:latin typeface="Verlag Book" pitchFamily="2" charset="0"/>
              <a:ea typeface="Calibri" panose="020F0502020204030204" pitchFamily="34" charset="0"/>
              <a:cs typeface="Times New Roman" panose="02020603050405020304" pitchFamily="18" charset="0"/>
            </a:endParaRPr>
          </a:p>
        </p:txBody>
      </p:sp>
      <p:sp>
        <p:nvSpPr>
          <p:cNvPr id="7" name="TextBox 10">
            <a:extLst>
              <a:ext uri="{FF2B5EF4-FFF2-40B4-BE49-F238E27FC236}">
                <a16:creationId xmlns:a16="http://schemas.microsoft.com/office/drawing/2014/main" id="{B7B5E413-0EBE-18C7-91DD-E13DAEFD316E}"/>
              </a:ext>
            </a:extLst>
          </p:cNvPr>
          <p:cNvSpPr txBox="1"/>
          <p:nvPr/>
        </p:nvSpPr>
        <p:spPr>
          <a:xfrm>
            <a:off x="4572000" y="3660738"/>
            <a:ext cx="3771423" cy="416457"/>
          </a:xfrm>
          <a:prstGeom prst="rect">
            <a:avLst/>
          </a:prstGeom>
        </p:spPr>
        <p:txBody>
          <a:bodyPr vert="horz" wrap="square" lIns="0" tIns="0" rIns="0" bIns="0" rtlCol="0" anchor="t">
            <a:noAutofit/>
          </a:bodyPr>
          <a:lstStyle/>
          <a:p>
            <a:pPr marL="0" marR="0">
              <a:lnSpc>
                <a:spcPct val="107000"/>
              </a:lnSpc>
              <a:spcBef>
                <a:spcPts val="0"/>
              </a:spcBef>
              <a:spcAft>
                <a:spcPts val="800"/>
              </a:spcAft>
            </a:pPr>
            <a:r>
              <a:rPr lang="en-US" sz="2400" b="1" kern="1200" dirty="0">
                <a:solidFill>
                  <a:srgbClr val="002060"/>
                </a:solidFill>
                <a:effectLst/>
                <a:latin typeface="Verlag Book" pitchFamily="2" charset="0"/>
                <a:ea typeface="Arial" panose="020B0604020202020204" pitchFamily="34" charset="0"/>
                <a:cs typeface="Arial" panose="020B0604020202020204" pitchFamily="34" charset="0"/>
              </a:rPr>
              <a:t>In Forgone Capital Investment</a:t>
            </a:r>
            <a:endParaRPr lang="en-US" dirty="0">
              <a:effectLst/>
              <a:latin typeface="Verlag Book" pitchFamily="2" charset="0"/>
              <a:ea typeface="Calibri" panose="020F0502020204030204" pitchFamily="34" charset="0"/>
              <a:cs typeface="Times New Roman" panose="02020603050405020304" pitchFamily="18" charset="0"/>
            </a:endParaRPr>
          </a:p>
        </p:txBody>
      </p:sp>
      <p:sp>
        <p:nvSpPr>
          <p:cNvPr id="8" name="TextBox 11">
            <a:extLst>
              <a:ext uri="{FF2B5EF4-FFF2-40B4-BE49-F238E27FC236}">
                <a16:creationId xmlns:a16="http://schemas.microsoft.com/office/drawing/2014/main" id="{8623C430-E553-C724-6D4C-B0AD738865EC}"/>
              </a:ext>
            </a:extLst>
          </p:cNvPr>
          <p:cNvSpPr txBox="1"/>
          <p:nvPr/>
        </p:nvSpPr>
        <p:spPr>
          <a:xfrm>
            <a:off x="6154033" y="2764880"/>
            <a:ext cx="1807030" cy="668490"/>
          </a:xfrm>
          <a:prstGeom prst="rect">
            <a:avLst/>
          </a:prstGeom>
        </p:spPr>
        <p:txBody>
          <a:bodyPr vert="horz" wrap="square" lIns="0" tIns="0" rIns="0" bIns="0" rtlCol="0" anchor="t">
            <a:noAutofit/>
          </a:bodyPr>
          <a:lstStyle/>
          <a:p>
            <a:pPr marL="0" marR="0">
              <a:lnSpc>
                <a:spcPct val="107000"/>
              </a:lnSpc>
              <a:spcBef>
                <a:spcPts val="0"/>
              </a:spcBef>
              <a:spcAft>
                <a:spcPts val="800"/>
              </a:spcAft>
            </a:pPr>
            <a:r>
              <a:rPr lang="en-US" sz="4000" b="1" kern="1200" dirty="0">
                <a:solidFill>
                  <a:srgbClr val="002060"/>
                </a:solidFill>
                <a:effectLst/>
                <a:latin typeface="Verlag Book" pitchFamily="2" charset="0"/>
                <a:ea typeface="Arial" panose="020B0604020202020204" pitchFamily="34" charset="0"/>
                <a:cs typeface="Arial" panose="020B0604020202020204" pitchFamily="34" charset="0"/>
              </a:rPr>
              <a:t>$124B+</a:t>
            </a:r>
            <a:endParaRPr lang="en-US" dirty="0">
              <a:effectLst/>
              <a:latin typeface="Verlag Book" pitchFamily="2" charset="0"/>
              <a:ea typeface="Calibri" panose="020F0502020204030204" pitchFamily="34" charset="0"/>
              <a:cs typeface="Times New Roman" panose="02020603050405020304" pitchFamily="18" charset="0"/>
            </a:endParaRPr>
          </a:p>
        </p:txBody>
      </p:sp>
      <p:sp>
        <p:nvSpPr>
          <p:cNvPr id="9" name="TextBox 12">
            <a:extLst>
              <a:ext uri="{FF2B5EF4-FFF2-40B4-BE49-F238E27FC236}">
                <a16:creationId xmlns:a16="http://schemas.microsoft.com/office/drawing/2014/main" id="{C0733007-C18A-A43F-AAF6-570AD35A1E0C}"/>
              </a:ext>
            </a:extLst>
          </p:cNvPr>
          <p:cNvSpPr txBox="1"/>
          <p:nvPr/>
        </p:nvSpPr>
        <p:spPr>
          <a:xfrm>
            <a:off x="2451829" y="2764238"/>
            <a:ext cx="1230260" cy="668490"/>
          </a:xfrm>
          <a:prstGeom prst="rect">
            <a:avLst/>
          </a:prstGeom>
        </p:spPr>
        <p:txBody>
          <a:bodyPr vert="horz" wrap="square" lIns="0" tIns="0" rIns="0" bIns="0" rtlCol="0" anchor="t">
            <a:noAutofit/>
          </a:bodyPr>
          <a:lstStyle/>
          <a:p>
            <a:pPr marL="0" marR="0">
              <a:lnSpc>
                <a:spcPct val="107000"/>
              </a:lnSpc>
              <a:spcBef>
                <a:spcPts val="0"/>
              </a:spcBef>
              <a:spcAft>
                <a:spcPts val="800"/>
              </a:spcAft>
            </a:pPr>
            <a:r>
              <a:rPr lang="en-US" sz="4000" b="1" kern="1200" dirty="0">
                <a:solidFill>
                  <a:srgbClr val="002060"/>
                </a:solidFill>
                <a:effectLst/>
                <a:latin typeface="Verlag Book" pitchFamily="2" charset="0"/>
                <a:ea typeface="Arial" panose="020B0604020202020204" pitchFamily="34" charset="0"/>
                <a:cs typeface="Arial" panose="020B0604020202020204" pitchFamily="34" charset="0"/>
              </a:rPr>
              <a:t>55K+</a:t>
            </a:r>
            <a:endParaRPr lang="en-US" dirty="0">
              <a:effectLst/>
              <a:latin typeface="Verlag Book" pitchFamily="2" charset="0"/>
              <a:ea typeface="Calibri" panose="020F0502020204030204" pitchFamily="34" charset="0"/>
              <a:cs typeface="Times New Roman" panose="02020603050405020304" pitchFamily="18" charset="0"/>
            </a:endParaRPr>
          </a:p>
        </p:txBody>
      </p:sp>
      <p:pic>
        <p:nvPicPr>
          <p:cNvPr id="17" name="Graphic 16">
            <a:extLst>
              <a:ext uri="{FF2B5EF4-FFF2-40B4-BE49-F238E27FC236}">
                <a16:creationId xmlns:a16="http://schemas.microsoft.com/office/drawing/2014/main" id="{0060AA12-0E67-023C-680D-102FEC07D4C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913738" y="2510698"/>
            <a:ext cx="1042416" cy="1042416"/>
          </a:xfrm>
          <a:prstGeom prst="rect">
            <a:avLst/>
          </a:prstGeom>
        </p:spPr>
      </p:pic>
      <p:pic>
        <p:nvPicPr>
          <p:cNvPr id="18" name="Graphic 17">
            <a:extLst>
              <a:ext uri="{FF2B5EF4-FFF2-40B4-BE49-F238E27FC236}">
                <a16:creationId xmlns:a16="http://schemas.microsoft.com/office/drawing/2014/main" id="{09DC3397-F55C-5BF3-0392-2612811B21ED}"/>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075163" y="2503697"/>
            <a:ext cx="1041734" cy="1041734"/>
          </a:xfrm>
          <a:prstGeom prst="rect">
            <a:avLst/>
          </a:prstGeom>
        </p:spPr>
      </p:pic>
    </p:spTree>
    <p:extLst>
      <p:ext uri="{BB962C8B-B14F-4D97-AF65-F5344CB8AC3E}">
        <p14:creationId xmlns:p14="http://schemas.microsoft.com/office/powerpoint/2010/main" val="1899592287"/>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21786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1800" y="914869"/>
            <a:ext cx="8280400" cy="6162205"/>
          </a:xfrm>
        </p:spPr>
        <p:txBody>
          <a:bodyPr vert="horz" lIns="0" tIns="0" rIns="0" bIns="0" rtlCol="0" anchor="t">
            <a:noAutofit/>
          </a:bodyPr>
          <a:lstStyle/>
          <a:p>
            <a:pPr marL="0" lvl="2" indent="0">
              <a:buNone/>
            </a:pPr>
            <a:r>
              <a:rPr lang="en-US" sz="1500" b="1" dirty="0">
                <a:solidFill>
                  <a:schemeClr val="accent1"/>
                </a:solidFill>
              </a:rPr>
              <a:t>Initiatives</a:t>
            </a:r>
          </a:p>
          <a:p>
            <a:pPr lvl="2"/>
            <a:r>
              <a:rPr lang="en-US" sz="1500" dirty="0"/>
              <a:t>Site Development</a:t>
            </a:r>
          </a:p>
          <a:p>
            <a:pPr lvl="3"/>
            <a:r>
              <a:rPr lang="en-US" sz="1500" dirty="0"/>
              <a:t>Make transformational investments in site development funding through the Virginia Business Ready Sites Program and a state-led site development fund to identify and prepare large sites to compete for high-impact economic development projects</a:t>
            </a:r>
          </a:p>
          <a:p>
            <a:pPr lvl="3"/>
            <a:r>
              <a:rPr lang="en-US" sz="1500" dirty="0"/>
              <a:t>Leverage all-of-government to holistically prepare sites and promote speed-to-market by developing housing plans to support major economic development projects, providing adequate transportation access, including rail and road, and reducing barriers to utility extensions</a:t>
            </a:r>
          </a:p>
          <a:p>
            <a:pPr lvl="3"/>
            <a:r>
              <a:rPr lang="en-US" sz="1500" dirty="0"/>
              <a:t>Continue to streamline Virginia’s regulatory and permitting processes through expanded transparency and efficiency and apply this model to other aspects of government regulation</a:t>
            </a:r>
          </a:p>
          <a:p>
            <a:pPr lvl="3"/>
            <a:endParaRPr lang="en-US" sz="600" dirty="0"/>
          </a:p>
          <a:p>
            <a:pPr lvl="2"/>
            <a:r>
              <a:rPr lang="en-US" sz="1500" dirty="0">
                <a:cs typeface="Arial" panose="020B0604020202020204"/>
              </a:rPr>
              <a:t>Energy</a:t>
            </a:r>
          </a:p>
          <a:p>
            <a:pPr lvl="3"/>
            <a:r>
              <a:rPr lang="en-US" sz="1500" dirty="0">
                <a:cs typeface="Arial" panose="020B0604020202020204"/>
              </a:rPr>
              <a:t>Promote innovation, reliability, affordability, and competition within Virginia’s energy economy and cultivate each generation source in an environmentally responsible manner</a:t>
            </a:r>
          </a:p>
          <a:p>
            <a:pPr lvl="3"/>
            <a:r>
              <a:rPr lang="en-US" sz="1500" dirty="0">
                <a:cs typeface="Arial" panose="020B0604020202020204"/>
              </a:rPr>
              <a:t>Leverage the proposed Virginia Power Innovation Fund to support research and development of innovative energy technologies, including the creation of the Virginia Nuclear Innovation Hub to spur advancements in nuclear technologies and establish a small modular reactor in Southwest Virginia</a:t>
            </a:r>
          </a:p>
          <a:p>
            <a:pPr lvl="3"/>
            <a:r>
              <a:rPr lang="en-US" sz="1500" dirty="0">
                <a:cs typeface="Arial" panose="020B0604020202020204"/>
              </a:rPr>
              <a:t>Leverage Virginia’s competitive advantages to establish the Commonwealth as a global leader in offshore wind supply chain development</a:t>
            </a:r>
          </a:p>
          <a:p>
            <a:pPr lvl="3"/>
            <a:r>
              <a:rPr lang="en-US" sz="1500" dirty="0">
                <a:cs typeface="Arial" panose="020B0604020202020204"/>
              </a:rPr>
              <a:t>Establish safeguards to promote energy affordability for Virginians</a:t>
            </a:r>
          </a:p>
          <a:p>
            <a:pPr lvl="3"/>
            <a:r>
              <a:rPr lang="en-US" sz="1500" dirty="0">
                <a:cs typeface="Arial" panose="020B0604020202020204"/>
              </a:rPr>
              <a:t>Promote renewable energy infrastructure to accommodate major economic development projects</a:t>
            </a:r>
          </a:p>
          <a:p>
            <a:pPr lvl="3"/>
            <a:endParaRPr lang="en-US" sz="1500" dirty="0"/>
          </a:p>
        </p:txBody>
      </p:sp>
      <p:sp>
        <p:nvSpPr>
          <p:cNvPr id="3" name="Title 2">
            <a:extLst>
              <a:ext uri="{FF2B5EF4-FFF2-40B4-BE49-F238E27FC236}">
                <a16:creationId xmlns:a16="http://schemas.microsoft.com/office/drawing/2014/main" id="{D2C3D60C-DE1C-0DF0-7EF7-0069ABF6B7EB}"/>
              </a:ext>
            </a:extLst>
          </p:cNvPr>
          <p:cNvSpPr>
            <a:spLocks noGrp="1"/>
          </p:cNvSpPr>
          <p:nvPr>
            <p:ph type="title"/>
          </p:nvPr>
        </p:nvSpPr>
        <p:spPr>
          <a:xfrm>
            <a:off x="431800" y="219075"/>
            <a:ext cx="8280400" cy="567394"/>
          </a:xfrm>
        </p:spPr>
        <p:txBody>
          <a:bodyPr vert="horz"/>
          <a:lstStyle/>
          <a:p>
            <a:r>
              <a:rPr lang="en-US" dirty="0"/>
              <a:t>ACCELERATE SITE &amp; INFRASTRUCTURE DEVELOPMENT (2/2)</a:t>
            </a:r>
            <a:endParaRPr lang="en-US" dirty="0">
              <a:highlight>
                <a:srgbClr val="FFFF00"/>
              </a:highlight>
            </a:endParaRP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16</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3395738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611983" y="2995235"/>
            <a:ext cx="4621249"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Make Virginia </a:t>
            </a:r>
          </a:p>
          <a:p>
            <a:pPr>
              <a:lnSpc>
                <a:spcPct val="100000"/>
              </a:lnSpc>
            </a:pPr>
            <a:r>
              <a:rPr lang="en-US" sz="3600" cap="none" dirty="0">
                <a:solidFill>
                  <a:schemeClr val="bg1"/>
                </a:solidFill>
                <a:latin typeface="Verlag Bold" pitchFamily="2" charset="0"/>
              </a:rPr>
              <a:t>More Affordable</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77BF0979-9489-84B2-16A8-A0ED4F7102EB}"/>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17</a:t>
            </a:fld>
            <a:endParaRPr lang="en-US" dirty="0">
              <a:latin typeface="Verlag Bold" pitchFamily="2" charset="0"/>
            </a:endParaRPr>
          </a:p>
        </p:txBody>
      </p:sp>
      <p:cxnSp>
        <p:nvCxnSpPr>
          <p:cNvPr id="4" name="Straight Connector 3">
            <a:extLst>
              <a:ext uri="{FF2B5EF4-FFF2-40B4-BE49-F238E27FC236}">
                <a16:creationId xmlns:a16="http://schemas.microsoft.com/office/drawing/2014/main" id="{33D380BF-A767-4536-1E70-6A46C0A2AF23}"/>
              </a:ext>
            </a:extLst>
          </p:cNvPr>
          <p:cNvCxnSpPr>
            <a:cxnSpLocks/>
          </p:cNvCxnSpPr>
          <p:nvPr/>
        </p:nvCxnSpPr>
        <p:spPr>
          <a:xfrm>
            <a:off x="1611984" y="3991231"/>
            <a:ext cx="5407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081971"/>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243008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04090" y="787036"/>
            <a:ext cx="8483601" cy="5955899"/>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Address housing supply shortages, energy costs, and individual taxes to reduce the cost of living to reduce outmigration, and attract talent and businesses to Virginia</a:t>
            </a:r>
          </a:p>
          <a:p>
            <a:pPr marL="0" lvl="2" indent="0">
              <a:buNone/>
            </a:pPr>
            <a:endParaRPr lang="en-US" sz="600" dirty="0"/>
          </a:p>
          <a:p>
            <a:pPr marL="0" lvl="2" indent="0">
              <a:buNone/>
            </a:pPr>
            <a:r>
              <a:rPr lang="en-US" sz="1500" b="1" dirty="0">
                <a:solidFill>
                  <a:schemeClr val="accent1"/>
                </a:solidFill>
              </a:rPr>
              <a:t>Key issues</a:t>
            </a:r>
          </a:p>
          <a:p>
            <a:pPr lvl="2"/>
            <a:r>
              <a:rPr lang="en-US" sz="1500" dirty="0"/>
              <a:t>Virginia's personal income tax structure has seen few changes since 1990 while many peer states have aggressively reformed taxes to promote economic growth</a:t>
            </a:r>
          </a:p>
          <a:p>
            <a:pPr lvl="2"/>
            <a:r>
              <a:rPr lang="en-US" sz="1500" dirty="0"/>
              <a:t>Since 2008, housing production in the Commonwealth has lagged overall population growth, intensifying demand for housing in Virginia, particularly in metro areas in the Urban Crescent</a:t>
            </a:r>
          </a:p>
          <a:p>
            <a:pPr marL="0" lvl="2" indent="0">
              <a:buNone/>
            </a:pPr>
            <a:endParaRPr lang="en-US" sz="600" b="1" dirty="0">
              <a:solidFill>
                <a:schemeClr val="accent1"/>
              </a:solidFill>
            </a:endParaRPr>
          </a:p>
          <a:p>
            <a:pPr marL="0" lvl="2" indent="0">
              <a:buNone/>
            </a:pPr>
            <a:r>
              <a:rPr lang="en-US" sz="1500" b="1" dirty="0">
                <a:solidFill>
                  <a:schemeClr val="accent1"/>
                </a:solidFill>
              </a:rPr>
              <a:t>Initiatives</a:t>
            </a:r>
          </a:p>
          <a:p>
            <a:pPr marL="303530" lvl="3" indent="-285750">
              <a:buFont typeface="Wingdings" panose="05000000000000000000" pitchFamily="2" charset="2"/>
              <a:buChar char="§"/>
            </a:pPr>
            <a:r>
              <a:rPr lang="en-US" sz="1500" dirty="0">
                <a:solidFill>
                  <a:srgbClr val="000000"/>
                </a:solidFill>
                <a:cs typeface="Arial" panose="020B0604020202020204"/>
              </a:rPr>
              <a:t>Reform individual income tax burdens to align with high-growth states to make Virginia a more affordable place to live and work</a:t>
            </a:r>
          </a:p>
          <a:p>
            <a:pPr marL="303530" lvl="3" indent="-285750">
              <a:buFont typeface="Wingdings" panose="05000000000000000000" pitchFamily="2" charset="2"/>
              <a:buChar char="§"/>
            </a:pPr>
            <a:r>
              <a:rPr lang="en-US" sz="1500" dirty="0">
                <a:solidFill>
                  <a:srgbClr val="000000"/>
                </a:solidFill>
                <a:cs typeface="Arial" panose="020B0604020202020204"/>
              </a:rPr>
              <a:t>Develop housing plans in coordination with economic development site plans to promote ample, affordable worker housing when businesses locate in Virginia</a:t>
            </a:r>
          </a:p>
          <a:p>
            <a:pPr marL="303530" lvl="3" indent="-285750">
              <a:buFont typeface="Wingdings" panose="05000000000000000000" pitchFamily="2" charset="2"/>
              <a:buChar char="§"/>
            </a:pPr>
            <a:r>
              <a:rPr lang="en-US" sz="1500" dirty="0">
                <a:solidFill>
                  <a:srgbClr val="000000"/>
                </a:solidFill>
                <a:cs typeface="Arial" panose="020B0604020202020204"/>
              </a:rPr>
              <a:t>Align housing development with economic growth through public/private partnerships with developers and include workforce housing in the early stages of the site development and selection process</a:t>
            </a:r>
          </a:p>
          <a:p>
            <a:pPr marL="303530" lvl="3" indent="-285750">
              <a:buFont typeface="Wingdings" panose="05000000000000000000" pitchFamily="2" charset="2"/>
              <a:buChar char="§"/>
            </a:pPr>
            <a:r>
              <a:rPr lang="en-US" sz="1500" dirty="0">
                <a:solidFill>
                  <a:srgbClr val="000000"/>
                </a:solidFill>
                <a:cs typeface="Arial" panose="020B0604020202020204"/>
              </a:rPr>
              <a:t>Invest in innovation in housing construction and modernize regulatory processes to reduce the cost of housing construction and materials</a:t>
            </a:r>
          </a:p>
          <a:p>
            <a:pPr marL="303530" lvl="3" indent="-285750">
              <a:buFont typeface="Wingdings" panose="05000000000000000000" pitchFamily="2" charset="2"/>
              <a:buChar char="§"/>
            </a:pPr>
            <a:r>
              <a:rPr lang="en-US" sz="1500" dirty="0">
                <a:solidFill>
                  <a:srgbClr val="000000"/>
                </a:solidFill>
                <a:cs typeface="Arial" panose="020B0604020202020204"/>
              </a:rPr>
              <a:t>Continue to reduce or eliminate taxes on military retirement pay to retain veterans in the Commonwealth</a:t>
            </a:r>
          </a:p>
          <a:p>
            <a:endParaRPr lang="en-US" dirty="0">
              <a:cs typeface="Arial" panose="020B0604020202020204"/>
            </a:endParaRPr>
          </a:p>
        </p:txBody>
      </p:sp>
      <p:sp>
        <p:nvSpPr>
          <p:cNvPr id="10" name="Title 2">
            <a:extLst>
              <a:ext uri="{FF2B5EF4-FFF2-40B4-BE49-F238E27FC236}">
                <a16:creationId xmlns:a16="http://schemas.microsoft.com/office/drawing/2014/main" id="{2F8B7626-8D49-68AE-F415-34DB604D5F0C}"/>
              </a:ext>
            </a:extLst>
          </p:cNvPr>
          <p:cNvSpPr>
            <a:spLocks noGrp="1"/>
          </p:cNvSpPr>
          <p:nvPr>
            <p:ph type="title"/>
          </p:nvPr>
        </p:nvSpPr>
        <p:spPr>
          <a:xfrm>
            <a:off x="431799" y="79131"/>
            <a:ext cx="8280400" cy="567394"/>
          </a:xfrm>
        </p:spPr>
        <p:txBody>
          <a:bodyPr vert="horz"/>
          <a:lstStyle/>
          <a:p>
            <a:r>
              <a:rPr lang="en-US" dirty="0"/>
              <a:t>MAKE VIRGINIA MORE AFFORDABLE: HOUSING &amp; COST OF LIVING</a:t>
            </a:r>
            <a:endParaRPr lang="en-US" dirty="0">
              <a:highlight>
                <a:srgbClr val="FFFF00"/>
              </a:highlight>
            </a:endParaRPr>
          </a:p>
        </p:txBody>
      </p:sp>
      <p:sp>
        <p:nvSpPr>
          <p:cNvPr id="4" name="Subtitle 3">
            <a:extLst>
              <a:ext uri="{FF2B5EF4-FFF2-40B4-BE49-F238E27FC236}">
                <a16:creationId xmlns:a16="http://schemas.microsoft.com/office/drawing/2014/main" id="{C8E4F9ED-32D7-0FD5-C63D-EE864638CB28}"/>
              </a:ext>
            </a:extLst>
          </p:cNvPr>
          <p:cNvSpPr>
            <a:spLocks noGrp="1"/>
          </p:cNvSpPr>
          <p:nvPr>
            <p:ph type="subTitle" sz="quarter" idx="1000"/>
          </p:nvPr>
        </p:nvSpPr>
        <p:spPr>
          <a:xfrm>
            <a:off x="431798" y="6240513"/>
            <a:ext cx="8617934" cy="505508"/>
          </a:xfrm>
        </p:spPr>
        <p:txBody>
          <a:bodyPr vert="horz" lIns="0" tIns="0" rIns="0" bIns="0" rtlCol="0" anchor="b">
            <a:noAutofit/>
          </a:bodyPr>
          <a:lstStyle/>
          <a:p>
            <a:pPr indent="-1270"/>
            <a:r>
              <a:rPr lang="en-US" dirty="0">
                <a:latin typeface="Verlag Book" pitchFamily="2" charset="0"/>
              </a:rPr>
              <a:t>Source: Council for Community and Economic Research Cost of Living Index (2022); Moody’s Cost of Living Index (2021); </a:t>
            </a:r>
          </a:p>
          <a:p>
            <a:pPr indent="-1270"/>
            <a:r>
              <a:rPr lang="en-US" dirty="0">
                <a:latin typeface="Verlag Book" pitchFamily="2" charset="0"/>
              </a:rPr>
              <a:t>Virginia Statewide Housing Study, January 2022</a:t>
            </a: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18</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374217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ntent Placeholder 16">
            <a:extLst>
              <a:ext uri="{FF2B5EF4-FFF2-40B4-BE49-F238E27FC236}">
                <a16:creationId xmlns:a16="http://schemas.microsoft.com/office/drawing/2014/main" id="{E46960AA-7173-5FAA-964E-3E06AA69FACB}"/>
              </a:ext>
            </a:extLst>
          </p:cNvPr>
          <p:cNvSpPr>
            <a:spLocks noGrp="1"/>
          </p:cNvSpPr>
          <p:nvPr>
            <p:ph sz="quarter" idx="200"/>
          </p:nvPr>
        </p:nvSpPr>
        <p:spPr>
          <a:xfrm>
            <a:off x="431800" y="1246932"/>
            <a:ext cx="8280400" cy="4932362"/>
          </a:xfrm>
        </p:spPr>
        <p:txBody>
          <a:bodyPr vert="horz" lIns="0" tIns="0" rIns="0" bIns="0" rtlCol="0" anchor="t">
            <a:noAutofit/>
          </a:bodyPr>
          <a:lstStyle/>
          <a:p>
            <a:r>
              <a:rPr lang="en-US" sz="1500" dirty="0">
                <a:latin typeface="Verlag Book" pitchFamily="2" charset="0"/>
              </a:rPr>
              <a:t>Objectives of the Governor's Economic Development Policy</a:t>
            </a:r>
          </a:p>
          <a:p>
            <a:pPr lvl="2"/>
            <a:r>
              <a:rPr lang="en-US" sz="1500" dirty="0"/>
              <a:t>State publicly the Administration's priorities and strategies for economic development</a:t>
            </a:r>
          </a:p>
          <a:p>
            <a:pPr marL="550545" lvl="3" indent="-266065"/>
            <a:r>
              <a:rPr lang="en-US" sz="1500" dirty="0"/>
              <a:t>This differs from The Strategic Plan for Economic Development of the Commonwealth, a confidential plan developed by VEDP that lays out the details of the same or similar strategies</a:t>
            </a:r>
            <a:endParaRPr lang="en-US" sz="1500" dirty="0">
              <a:cs typeface="Arial" panose="020B0604020202020204"/>
            </a:endParaRPr>
          </a:p>
          <a:p>
            <a:pPr lvl="2"/>
            <a:r>
              <a:rPr lang="en-US" sz="1500" dirty="0"/>
              <a:t>Provide a reference point and a coherent narrative for subsequent legislative and budget proposals</a:t>
            </a:r>
            <a:endParaRPr lang="en-US" sz="1500" dirty="0">
              <a:cs typeface="Arial"/>
            </a:endParaRPr>
          </a:p>
          <a:p>
            <a:pPr marL="0" lvl="2" indent="0">
              <a:buNone/>
            </a:pPr>
            <a:endParaRPr lang="en-US" sz="600" dirty="0">
              <a:cs typeface="Arial"/>
            </a:endParaRPr>
          </a:p>
          <a:p>
            <a:r>
              <a:rPr lang="en-US" sz="1500" dirty="0">
                <a:latin typeface="Verlag Book" pitchFamily="2" charset="0"/>
              </a:rPr>
              <a:t>Code of Virginia (§ 2.2-205) outlines the timing and process for the Governor's Comprehensive Economic Development Policy</a:t>
            </a:r>
          </a:p>
          <a:p>
            <a:pPr lvl="2"/>
            <a:r>
              <a:rPr lang="en-US" sz="1500" dirty="0"/>
              <a:t>Required to occur in the first year of the Governor’s Administration</a:t>
            </a:r>
          </a:p>
          <a:p>
            <a:pPr lvl="2"/>
            <a:r>
              <a:rPr lang="en-US" sz="1500" dirty="0"/>
              <a:t>A steering committee, led by the Secretary of Commerce and Trade and including the Governor's cabinet, will develop the policy</a:t>
            </a:r>
          </a:p>
          <a:p>
            <a:pPr marL="550545" lvl="3" indent="-266065"/>
            <a:r>
              <a:rPr lang="en-US" sz="1500" dirty="0"/>
              <a:t>More than ten secretariats and eight Commerce &amp; Trade agencies were engaged to solicit input on the plan</a:t>
            </a:r>
            <a:endParaRPr lang="en-US" sz="1500" dirty="0">
              <a:cs typeface="Arial" panose="020B0604020202020204"/>
            </a:endParaRPr>
          </a:p>
          <a:p>
            <a:pPr marL="550545" lvl="3" indent="-266065"/>
            <a:r>
              <a:rPr lang="en-US" sz="1500" dirty="0"/>
              <a:t>Key non-government stakeholders such as the Virginia Chamber, the Virginia Manufacturers Association, and the Virginia Economic Developers Association, among others, were engaged for input</a:t>
            </a:r>
            <a:endParaRPr lang="en-US" sz="1500" dirty="0">
              <a:cs typeface="Arial" panose="020B0604020202020204"/>
            </a:endParaRPr>
          </a:p>
          <a:p>
            <a:pPr marL="0" lvl="2" indent="0">
              <a:buNone/>
            </a:pPr>
            <a:endParaRPr lang="en-US" dirty="0">
              <a:cs typeface="Arial" panose="020B0604020202020204"/>
            </a:endParaRPr>
          </a:p>
          <a:p>
            <a:pPr marL="550545" lvl="3" indent="-266065"/>
            <a:endParaRPr lang="en-US" dirty="0">
              <a:cs typeface="Arial" panose="020B0604020202020204"/>
            </a:endParaRPr>
          </a:p>
        </p:txBody>
      </p:sp>
      <p:sp>
        <p:nvSpPr>
          <p:cNvPr id="16" name="Title 15">
            <a:extLst>
              <a:ext uri="{FF2B5EF4-FFF2-40B4-BE49-F238E27FC236}">
                <a16:creationId xmlns:a16="http://schemas.microsoft.com/office/drawing/2014/main" id="{0C021B23-639D-6E59-2FB2-8FE735D70FCA}"/>
              </a:ext>
            </a:extLst>
          </p:cNvPr>
          <p:cNvSpPr>
            <a:spLocks noGrp="1"/>
          </p:cNvSpPr>
          <p:nvPr>
            <p:ph type="title"/>
          </p:nvPr>
        </p:nvSpPr>
        <p:spPr>
          <a:xfrm>
            <a:off x="431800" y="426518"/>
            <a:ext cx="8465751" cy="593872"/>
          </a:xfrm>
        </p:spPr>
        <p:txBody>
          <a:bodyPr vert="horz"/>
          <a:lstStyle/>
          <a:p>
            <a:r>
              <a:rPr lang="en-US" dirty="0"/>
              <a:t>Governor’s economic development policy Executive Summary (1/2)</a:t>
            </a:r>
          </a:p>
        </p:txBody>
      </p:sp>
      <p:sp>
        <p:nvSpPr>
          <p:cNvPr id="18" name="Subtitle 17">
            <a:extLst>
              <a:ext uri="{FF2B5EF4-FFF2-40B4-BE49-F238E27FC236}">
                <a16:creationId xmlns:a16="http://schemas.microsoft.com/office/drawing/2014/main" id="{B6212B0A-95A9-11EC-0CC2-83EA51C17039}"/>
              </a:ext>
            </a:extLst>
          </p:cNvPr>
          <p:cNvSpPr>
            <a:spLocks noGrp="1"/>
          </p:cNvSpPr>
          <p:nvPr>
            <p:ph type="subTitle" sz="quarter" idx="1000"/>
          </p:nvPr>
        </p:nvSpPr>
        <p:spPr/>
        <p:txBody>
          <a:bodyPr/>
          <a:lstStyle/>
          <a:p>
            <a:r>
              <a:rPr lang="en-US" dirty="0">
                <a:latin typeface="Verlag Book" pitchFamily="2" charset="0"/>
              </a:rPr>
              <a:t>Source: </a:t>
            </a:r>
            <a:r>
              <a:rPr lang="en-US" dirty="0">
                <a:latin typeface="Verlag Book" pitchFamily="2" charset="0"/>
                <a:hlinkClick r:id="rId6"/>
              </a:rPr>
              <a:t>Code of Virginia</a:t>
            </a:r>
            <a:endParaRPr lang="en-US" dirty="0">
              <a:latin typeface="Verlag Book" pitchFamily="2" charset="0"/>
            </a:endParaRPr>
          </a:p>
        </p:txBody>
      </p:sp>
      <p:sp>
        <p:nvSpPr>
          <p:cNvPr id="15" name="Slide Number Placeholder 14">
            <a:extLst>
              <a:ext uri="{FF2B5EF4-FFF2-40B4-BE49-F238E27FC236}">
                <a16:creationId xmlns:a16="http://schemas.microsoft.com/office/drawing/2014/main" id="{B78C67FA-CBC7-1749-BF7F-FF17C69ADC74}"/>
              </a:ext>
            </a:extLst>
          </p:cNvPr>
          <p:cNvSpPr>
            <a:spLocks noGrp="1"/>
          </p:cNvSpPr>
          <p:nvPr>
            <p:ph type="sldNum" sz="quarter" idx="107"/>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lang="en-US" smtClean="0">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Tree>
    <p:extLst>
      <p:ext uri="{BB962C8B-B14F-4D97-AF65-F5344CB8AC3E}">
        <p14:creationId xmlns:p14="http://schemas.microsoft.com/office/powerpoint/2010/main" val="1636048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A29452-1D63-0C2D-8C74-01A7AD89C458}"/>
              </a:ext>
            </a:extLst>
          </p:cNvPr>
          <p:cNvGraphicFramePr>
            <a:graphicFrameLocks noChangeAspect="1"/>
          </p:cNvGraphicFramePr>
          <p:nvPr>
            <p:custDataLst>
              <p:tags r:id="rId2"/>
            </p:custDataLst>
            <p:extLst>
              <p:ext uri="{D42A27DB-BD31-4B8C-83A1-F6EECF244321}">
                <p14:modId xmlns:p14="http://schemas.microsoft.com/office/powerpoint/2010/main" val="401103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10" name="Object 9" hidden="1">
                        <a:extLst>
                          <a:ext uri="{FF2B5EF4-FFF2-40B4-BE49-F238E27FC236}">
                            <a16:creationId xmlns:a16="http://schemas.microsoft.com/office/drawing/2014/main" id="{0EA29452-1D63-0C2D-8C74-01A7AD89C4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7A498768-5F61-24AE-37E2-E1B9FDF0AD41}"/>
              </a:ext>
            </a:extLst>
          </p:cNvPr>
          <p:cNvGrpSpPr/>
          <p:nvPr/>
        </p:nvGrpSpPr>
        <p:grpSpPr>
          <a:xfrm>
            <a:off x="704931" y="1136232"/>
            <a:ext cx="7570617" cy="4826364"/>
            <a:chOff x="705298" y="1256304"/>
            <a:chExt cx="7570617" cy="4826364"/>
          </a:xfrm>
        </p:grpSpPr>
        <p:grpSp>
          <p:nvGrpSpPr>
            <p:cNvPr id="18" name="Group 17">
              <a:extLst>
                <a:ext uri="{FF2B5EF4-FFF2-40B4-BE49-F238E27FC236}">
                  <a16:creationId xmlns:a16="http://schemas.microsoft.com/office/drawing/2014/main" id="{16E0DD24-9E9D-F3CD-CF05-6DF0B19E1BBA}"/>
                </a:ext>
              </a:extLst>
            </p:cNvPr>
            <p:cNvGrpSpPr/>
            <p:nvPr/>
          </p:nvGrpSpPr>
          <p:grpSpPr>
            <a:xfrm>
              <a:off x="1061411" y="1256304"/>
              <a:ext cx="7214504" cy="4826364"/>
              <a:chOff x="1061411" y="1256304"/>
              <a:chExt cx="7214504" cy="4826364"/>
            </a:xfrm>
          </p:grpSpPr>
          <p:graphicFrame>
            <p:nvGraphicFramePr>
              <p:cNvPr id="3" name="Chart 2">
                <a:extLst>
                  <a:ext uri="{FF2B5EF4-FFF2-40B4-BE49-F238E27FC236}">
                    <a16:creationId xmlns:a16="http://schemas.microsoft.com/office/drawing/2014/main" id="{ED47854F-CECE-EA49-17B5-67E58E2D85CA}"/>
                  </a:ext>
                </a:extLst>
              </p:cNvPr>
              <p:cNvGraphicFramePr>
                <a:graphicFrameLocks/>
              </p:cNvGraphicFramePr>
              <p:nvPr>
                <p:extLst>
                  <p:ext uri="{D42A27DB-BD31-4B8C-83A1-F6EECF244321}">
                    <p14:modId xmlns:p14="http://schemas.microsoft.com/office/powerpoint/2010/main" val="285565937"/>
                  </p:ext>
                </p:extLst>
              </p:nvPr>
            </p:nvGraphicFramePr>
            <p:xfrm>
              <a:off x="1061411" y="1256304"/>
              <a:ext cx="7043057" cy="4826364"/>
            </p:xfrm>
            <a:graphic>
              <a:graphicData uri="http://schemas.openxmlformats.org/drawingml/2006/chart">
                <c:chart xmlns:c="http://schemas.openxmlformats.org/drawingml/2006/chart" xmlns:r="http://schemas.openxmlformats.org/officeDocument/2006/relationships" r:id="rId8"/>
              </a:graphicData>
            </a:graphic>
          </p:graphicFrame>
          <p:cxnSp>
            <p:nvCxnSpPr>
              <p:cNvPr id="8" name="Straight Connector 7">
                <a:extLst>
                  <a:ext uri="{FF2B5EF4-FFF2-40B4-BE49-F238E27FC236}">
                    <a16:creationId xmlns:a16="http://schemas.microsoft.com/office/drawing/2014/main" id="{4E0D283E-5A5E-7781-CA6B-8F2DECF89ADA}"/>
                  </a:ext>
                </a:extLst>
              </p:cNvPr>
              <p:cNvCxnSpPr/>
              <p:nvPr/>
            </p:nvCxnSpPr>
            <p:spPr>
              <a:xfrm flipV="1">
                <a:off x="4951882" y="1900487"/>
                <a:ext cx="0" cy="359359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CF642DD-5F0A-FE26-D51A-166F74F40B3A}"/>
                  </a:ext>
                </a:extLst>
              </p:cNvPr>
              <p:cNvSpPr txBox="1"/>
              <p:nvPr/>
            </p:nvSpPr>
            <p:spPr>
              <a:xfrm>
                <a:off x="7937158" y="2647709"/>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SC</a:t>
                </a:r>
                <a:endParaRPr lang="en-US" sz="1400" dirty="0">
                  <a:latin typeface="Verlag Book" pitchFamily="2" charset="0"/>
                  <a:ea typeface="Arial" charset="0"/>
                  <a:cs typeface="Arial" charset="0"/>
                </a:endParaRPr>
              </a:p>
            </p:txBody>
          </p:sp>
          <p:sp>
            <p:nvSpPr>
              <p:cNvPr id="13" name="TextBox 12">
                <a:extLst>
                  <a:ext uri="{FF2B5EF4-FFF2-40B4-BE49-F238E27FC236}">
                    <a16:creationId xmlns:a16="http://schemas.microsoft.com/office/drawing/2014/main" id="{A9F45DEB-05F4-B56D-2261-84167E30F330}"/>
                  </a:ext>
                </a:extLst>
              </p:cNvPr>
              <p:cNvSpPr txBox="1"/>
              <p:nvPr/>
            </p:nvSpPr>
            <p:spPr>
              <a:xfrm>
                <a:off x="7937158" y="2873659"/>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VA</a:t>
                </a:r>
                <a:endParaRPr lang="en-US" sz="1400" dirty="0">
                  <a:latin typeface="Verlag Book" pitchFamily="2" charset="0"/>
                  <a:ea typeface="Arial" charset="0"/>
                  <a:cs typeface="Arial" charset="0"/>
                </a:endParaRPr>
              </a:p>
            </p:txBody>
          </p:sp>
          <p:sp>
            <p:nvSpPr>
              <p:cNvPr id="14" name="TextBox 13">
                <a:extLst>
                  <a:ext uri="{FF2B5EF4-FFF2-40B4-BE49-F238E27FC236}">
                    <a16:creationId xmlns:a16="http://schemas.microsoft.com/office/drawing/2014/main" id="{ABFAB664-4E07-72F0-7D21-D5BD26B7D8A0}"/>
                  </a:ext>
                </a:extLst>
              </p:cNvPr>
              <p:cNvSpPr txBox="1"/>
              <p:nvPr/>
            </p:nvSpPr>
            <p:spPr>
              <a:xfrm>
                <a:off x="7937158" y="3175627"/>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GA</a:t>
                </a:r>
                <a:endParaRPr lang="en-US" sz="1400" baseline="30000" dirty="0">
                  <a:latin typeface="Verlag Book" pitchFamily="2" charset="0"/>
                  <a:ea typeface="Arial" charset="0"/>
                  <a:cs typeface="Arial" charset="0"/>
                </a:endParaRPr>
              </a:p>
            </p:txBody>
          </p:sp>
          <p:sp>
            <p:nvSpPr>
              <p:cNvPr id="15" name="TextBox 14">
                <a:extLst>
                  <a:ext uri="{FF2B5EF4-FFF2-40B4-BE49-F238E27FC236}">
                    <a16:creationId xmlns:a16="http://schemas.microsoft.com/office/drawing/2014/main" id="{15DF8C8B-E5EA-FAC1-66E3-E75637A588D2}"/>
                  </a:ext>
                </a:extLst>
              </p:cNvPr>
              <p:cNvSpPr txBox="1"/>
              <p:nvPr/>
            </p:nvSpPr>
            <p:spPr>
              <a:xfrm>
                <a:off x="7937158" y="3625719"/>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NC</a:t>
                </a:r>
                <a:endParaRPr lang="en-US" sz="1400" dirty="0">
                  <a:latin typeface="Verlag Book" pitchFamily="2" charset="0"/>
                  <a:ea typeface="Arial" charset="0"/>
                  <a:cs typeface="Arial" charset="0"/>
                </a:endParaRPr>
              </a:p>
            </p:txBody>
          </p:sp>
          <p:sp>
            <p:nvSpPr>
              <p:cNvPr id="17" name="TextBox 16">
                <a:extLst>
                  <a:ext uri="{FF2B5EF4-FFF2-40B4-BE49-F238E27FC236}">
                    <a16:creationId xmlns:a16="http://schemas.microsoft.com/office/drawing/2014/main" id="{96FC1F6C-FD69-D969-B3DD-18EDCA0253A4}"/>
                  </a:ext>
                </a:extLst>
              </p:cNvPr>
              <p:cNvSpPr txBox="1"/>
              <p:nvPr/>
            </p:nvSpPr>
            <p:spPr>
              <a:xfrm>
                <a:off x="7933021" y="5360468"/>
                <a:ext cx="342894"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TN</a:t>
                </a:r>
                <a:endParaRPr lang="en-US" sz="1400" dirty="0">
                  <a:latin typeface="Verlag Book" pitchFamily="2" charset="0"/>
                  <a:ea typeface="Arial" charset="0"/>
                  <a:cs typeface="Arial" charset="0"/>
                </a:endParaRPr>
              </a:p>
            </p:txBody>
          </p:sp>
        </p:grpSp>
        <p:sp>
          <p:nvSpPr>
            <p:cNvPr id="19" name="TextBox 18">
              <a:extLst>
                <a:ext uri="{FF2B5EF4-FFF2-40B4-BE49-F238E27FC236}">
                  <a16:creationId xmlns:a16="http://schemas.microsoft.com/office/drawing/2014/main" id="{7F5A9784-57E0-B847-65AD-6C50409AC807}"/>
                </a:ext>
              </a:extLst>
            </p:cNvPr>
            <p:cNvSpPr txBox="1"/>
            <p:nvPr/>
          </p:nvSpPr>
          <p:spPr>
            <a:xfrm rot="16200000">
              <a:off x="92996" y="3352344"/>
              <a:ext cx="140926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Statutory Rate (%)</a:t>
              </a:r>
              <a:endParaRPr lang="en-US" sz="1400" dirty="0">
                <a:latin typeface="Verlag Book" pitchFamily="2" charset="0"/>
                <a:ea typeface="Arial" charset="0"/>
                <a:cs typeface="Arial" charset="0"/>
              </a:endParaRPr>
            </a:p>
          </p:txBody>
        </p:sp>
      </p:grpSp>
      <p:sp>
        <p:nvSpPr>
          <p:cNvPr id="7" name="Title 6">
            <a:extLst>
              <a:ext uri="{FF2B5EF4-FFF2-40B4-BE49-F238E27FC236}">
                <a16:creationId xmlns:a16="http://schemas.microsoft.com/office/drawing/2014/main" id="{C1D0C9A9-0B17-3C86-E142-1ACADB775522}"/>
              </a:ext>
            </a:extLst>
          </p:cNvPr>
          <p:cNvSpPr>
            <a:spLocks noGrp="1"/>
          </p:cNvSpPr>
          <p:nvPr>
            <p:ph type="title"/>
          </p:nvPr>
        </p:nvSpPr>
        <p:spPr>
          <a:xfrm>
            <a:off x="350040" y="496683"/>
            <a:ext cx="8280400" cy="567394"/>
          </a:xfrm>
        </p:spPr>
        <p:txBody>
          <a:bodyPr vert="horz"/>
          <a:lstStyle/>
          <a:p>
            <a:r>
              <a:rPr lang="en-US" dirty="0"/>
              <a:t>North Carolina, Tennessee, and Georgia have reduced personal income tax rates, while Virginia holds steady</a:t>
            </a:r>
          </a:p>
        </p:txBody>
      </p:sp>
      <p:sp>
        <p:nvSpPr>
          <p:cNvPr id="9" name="Subtitle 8">
            <a:extLst>
              <a:ext uri="{FF2B5EF4-FFF2-40B4-BE49-F238E27FC236}">
                <a16:creationId xmlns:a16="http://schemas.microsoft.com/office/drawing/2014/main" id="{179963E5-D97C-B774-64BA-A768630193EC}"/>
              </a:ext>
            </a:extLst>
          </p:cNvPr>
          <p:cNvSpPr>
            <a:spLocks noGrp="1"/>
          </p:cNvSpPr>
          <p:nvPr>
            <p:ph type="subTitle" sz="quarter" idx="1000"/>
          </p:nvPr>
        </p:nvSpPr>
        <p:spPr>
          <a:xfrm>
            <a:off x="350040" y="6263394"/>
            <a:ext cx="6117047" cy="505508"/>
          </a:xfrm>
        </p:spPr>
        <p:txBody>
          <a:bodyPr/>
          <a:lstStyle/>
          <a:p>
            <a:pPr marL="6350" marR="0" lvl="0" indent="-1588" algn="l" defTabSz="914400" rtl="0" eaLnBrk="1" fontAlgn="auto" latinLnBrk="0" hangingPunct="1">
              <a:lnSpc>
                <a:spcPct val="90000"/>
              </a:lnSpc>
              <a:spcBef>
                <a:spcPts val="75"/>
              </a:spcBef>
              <a:spcAft>
                <a:spcPts val="75"/>
              </a:spcAft>
              <a:buClrTx/>
              <a:buSzPct val="100000"/>
              <a:buFontTx/>
              <a:buNone/>
              <a:tabLst/>
              <a:defRPr/>
            </a:pPr>
            <a:r>
              <a:rPr lang="en-US" dirty="0">
                <a:latin typeface="Verlag Book" pitchFamily="2" charset="0"/>
              </a:rPr>
              <a:t>Source: Statutory tax rates in respective states</a:t>
            </a:r>
          </a:p>
          <a:p>
            <a:r>
              <a:rPr lang="en-US" dirty="0">
                <a:latin typeface="Verlag Book" pitchFamily="2" charset="0"/>
              </a:rPr>
              <a:t>*Tennessee’s Hall Income tax applied only to investment income and was phased out in 2021; Georgia will begin lowering its personal income tax rate in 2024, reaching a rate of 5% in 2029; Florida and Texas do not levy a personal income tax</a:t>
            </a:r>
          </a:p>
        </p:txBody>
      </p:sp>
      <p:sp>
        <p:nvSpPr>
          <p:cNvPr id="6" name="Slide Number Placeholder 5">
            <a:extLst>
              <a:ext uri="{FF2B5EF4-FFF2-40B4-BE49-F238E27FC236}">
                <a16:creationId xmlns:a16="http://schemas.microsoft.com/office/drawing/2014/main" id="{7EB90EA3-F4DD-F4CE-DBEE-B5517961E983}"/>
              </a:ext>
            </a:extLst>
          </p:cNvPr>
          <p:cNvSpPr>
            <a:spLocks noGrp="1"/>
          </p:cNvSpPr>
          <p:nvPr>
            <p:ph type="sldNum" sz="quarter" idx="107"/>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9</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Tree>
    <p:extLst>
      <p:ext uri="{BB962C8B-B14F-4D97-AF65-F5344CB8AC3E}">
        <p14:creationId xmlns:p14="http://schemas.microsoft.com/office/powerpoint/2010/main" val="248594990"/>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786687" y="2995235"/>
            <a:ext cx="5446546"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gn="ctr">
              <a:lnSpc>
                <a:spcPct val="100000"/>
              </a:lnSpc>
            </a:pPr>
            <a:r>
              <a:rPr lang="en-US" sz="3600" cap="none" dirty="0">
                <a:solidFill>
                  <a:schemeClr val="bg1"/>
                </a:solidFill>
                <a:latin typeface="Verlag Bold" pitchFamily="2" charset="0"/>
              </a:rPr>
              <a:t>Break Down Barriers</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33991DD9-00C3-9B24-B7FE-5749A6E8C2D0}"/>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0</a:t>
            </a:fld>
            <a:endParaRPr lang="en-US" dirty="0">
              <a:latin typeface="Verlag Bold" pitchFamily="2" charset="0"/>
            </a:endParaRPr>
          </a:p>
        </p:txBody>
      </p:sp>
      <p:cxnSp>
        <p:nvCxnSpPr>
          <p:cNvPr id="4" name="Straight Connector 3">
            <a:extLst>
              <a:ext uri="{FF2B5EF4-FFF2-40B4-BE49-F238E27FC236}">
                <a16:creationId xmlns:a16="http://schemas.microsoft.com/office/drawing/2014/main" id="{7B26ADCC-C5D2-DB98-2184-E442A328AA79}"/>
              </a:ext>
            </a:extLst>
          </p:cNvPr>
          <p:cNvCxnSpPr>
            <a:cxnSpLocks/>
          </p:cNvCxnSpPr>
          <p:nvPr/>
        </p:nvCxnSpPr>
        <p:spPr>
          <a:xfrm>
            <a:off x="1611984" y="3774413"/>
            <a:ext cx="5407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712578"/>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2"/>
            </p:custDataLst>
            <p:extLst>
              <p:ext uri="{D42A27DB-BD31-4B8C-83A1-F6EECF244321}">
                <p14:modId xmlns:p14="http://schemas.microsoft.com/office/powerpoint/2010/main" val="39432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4924" y="1344517"/>
            <a:ext cx="8358239" cy="5090797"/>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Evaluate Virginia’s business taxes, licensing, and other costs, and modernize Virginia’s regulatory framework to reduce costs of doing business.</a:t>
            </a:r>
          </a:p>
          <a:p>
            <a:pPr lvl="2"/>
            <a:endParaRPr lang="en-US" sz="600" dirty="0"/>
          </a:p>
          <a:p>
            <a:pPr marL="0" lvl="2" indent="0">
              <a:buNone/>
            </a:pPr>
            <a:r>
              <a:rPr lang="en-US" sz="1500" b="1" dirty="0">
                <a:solidFill>
                  <a:schemeClr val="accent1"/>
                </a:solidFill>
              </a:rPr>
              <a:t>Key issues</a:t>
            </a:r>
          </a:p>
          <a:p>
            <a:pPr lvl="2"/>
            <a:r>
              <a:rPr lang="en-US" sz="1500" dirty="0"/>
              <a:t>The Commonwealth has higher corporate income taxes than many competitor states such as Texas, North Carolina, South Carolina, Florida, and Georgia</a:t>
            </a:r>
          </a:p>
          <a:p>
            <a:pPr lvl="2"/>
            <a:r>
              <a:rPr lang="en-US" sz="1500" dirty="0"/>
              <a:t>Virginia’s unemployment insurance tax charging methods are the least employer-friendly among southeastern peer states</a:t>
            </a:r>
          </a:p>
          <a:p>
            <a:pPr lvl="2"/>
            <a:r>
              <a:rPr lang="en-US" sz="1500" dirty="0"/>
              <a:t>Despite Virginia’s cost of doing business comparing favorably to some peer states, unique aspects of Virginia’s cost structure including local BPOL and M&amp;T tax, and cumbersome regulatory processes contribute to perceptions of Virginia as having higher costs of doing business than some of its competitors</a:t>
            </a:r>
          </a:p>
          <a:p>
            <a:pPr marL="0" lvl="2" indent="0">
              <a:buNone/>
            </a:pPr>
            <a:endParaRPr lang="en-US" sz="600" b="1" dirty="0">
              <a:solidFill>
                <a:schemeClr val="accent1"/>
              </a:solidFill>
            </a:endParaRPr>
          </a:p>
          <a:p>
            <a:pPr marL="0" lvl="2" indent="0">
              <a:buNone/>
            </a:pPr>
            <a:r>
              <a:rPr lang="en-US" sz="1500" b="1" dirty="0">
                <a:solidFill>
                  <a:schemeClr val="accent1"/>
                </a:solidFill>
              </a:rPr>
              <a:t>Initiatives</a:t>
            </a:r>
          </a:p>
          <a:p>
            <a:pPr lvl="2"/>
            <a:r>
              <a:rPr lang="en-US" sz="1500" dirty="0"/>
              <a:t>Reform corporate tax burdens to make Virginia a more attractive place to do business</a:t>
            </a:r>
          </a:p>
          <a:p>
            <a:pPr lvl="2"/>
            <a:r>
              <a:rPr lang="en-US" sz="1500" dirty="0"/>
              <a:t>Evaluate Virginia’s unemployment insurance policies to reduce the burdens to individual employers and bring them more in line with competitor states</a:t>
            </a:r>
          </a:p>
          <a:p>
            <a:pPr lvl="2"/>
            <a:r>
              <a:rPr lang="en-US" sz="1500" dirty="0"/>
              <a:t>Continue to modernize Virginia's regulatory and permitting processes to reduce costs associated with navigating complex regulations</a:t>
            </a:r>
          </a:p>
          <a:p>
            <a:pPr lvl="2"/>
            <a:r>
              <a:rPr lang="en-US" sz="1500" dirty="0"/>
              <a:t>Market regulatory improvements to enhance perceptions of Virginia as a top state for business</a:t>
            </a:r>
          </a:p>
          <a:p>
            <a:pPr marL="0" lvl="2" indent="0">
              <a:buNone/>
            </a:pPr>
            <a:endParaRPr lang="en-US" sz="1500" dirty="0"/>
          </a:p>
          <a:p>
            <a:pPr marL="17780" lvl="3" indent="0">
              <a:buNone/>
            </a:pPr>
            <a:endParaRPr lang="en-US" sz="1500" dirty="0">
              <a:solidFill>
                <a:srgbClr val="000000"/>
              </a:solidFill>
              <a:cs typeface="Arial" panose="020B0604020202020204"/>
            </a:endParaRPr>
          </a:p>
          <a:p>
            <a:pPr lvl="2"/>
            <a:endParaRPr lang="en-US" sz="1500" dirty="0"/>
          </a:p>
          <a:p>
            <a:pPr marL="0" lvl="2" indent="0">
              <a:buNone/>
            </a:pPr>
            <a:endParaRPr lang="en-US" sz="1500" dirty="0"/>
          </a:p>
          <a:p>
            <a:endParaRPr lang="en-US" sz="1500" dirty="0">
              <a:cs typeface="Arial" panose="020B0604020202020204"/>
            </a:endParaRPr>
          </a:p>
        </p:txBody>
      </p:sp>
      <p:sp>
        <p:nvSpPr>
          <p:cNvPr id="10" name="Title 2">
            <a:extLst>
              <a:ext uri="{FF2B5EF4-FFF2-40B4-BE49-F238E27FC236}">
                <a16:creationId xmlns:a16="http://schemas.microsoft.com/office/drawing/2014/main" id="{2F8B7626-8D49-68AE-F415-34DB604D5F0C}"/>
              </a:ext>
            </a:extLst>
          </p:cNvPr>
          <p:cNvSpPr>
            <a:spLocks noGrp="1"/>
          </p:cNvSpPr>
          <p:nvPr>
            <p:ph type="title"/>
          </p:nvPr>
        </p:nvSpPr>
        <p:spPr>
          <a:xfrm>
            <a:off x="431799" y="347617"/>
            <a:ext cx="8280400" cy="567394"/>
          </a:xfrm>
        </p:spPr>
        <p:txBody>
          <a:bodyPr vert="horz"/>
          <a:lstStyle/>
          <a:p>
            <a:r>
              <a:rPr lang="en-US" dirty="0"/>
              <a:t>BREAK DOWN BARRIERS: COST &amp; EASE OF DOING BUSINESS</a:t>
            </a:r>
            <a:endParaRPr lang="en-US" dirty="0">
              <a:highlight>
                <a:srgbClr val="FFFF00"/>
              </a:highlight>
            </a:endParaRPr>
          </a:p>
        </p:txBody>
      </p:sp>
      <p:sp>
        <p:nvSpPr>
          <p:cNvPr id="4" name="Subtitle 3">
            <a:extLst>
              <a:ext uri="{FF2B5EF4-FFF2-40B4-BE49-F238E27FC236}">
                <a16:creationId xmlns:a16="http://schemas.microsoft.com/office/drawing/2014/main" id="{C8E4F9ED-32D7-0FD5-C63D-EE864638CB28}"/>
              </a:ext>
            </a:extLst>
          </p:cNvPr>
          <p:cNvSpPr>
            <a:spLocks noGrp="1"/>
          </p:cNvSpPr>
          <p:nvPr>
            <p:ph type="subTitle" sz="quarter" idx="1000"/>
          </p:nvPr>
        </p:nvSpPr>
        <p:spPr>
          <a:xfrm>
            <a:off x="431799" y="6435314"/>
            <a:ext cx="7440613" cy="182292"/>
          </a:xfrm>
        </p:spPr>
        <p:txBody>
          <a:bodyPr/>
          <a:lstStyle/>
          <a:p>
            <a:pPr indent="-1270"/>
            <a:r>
              <a:rPr lang="en-US" dirty="0">
                <a:latin typeface="Verlag Book" pitchFamily="2" charset="0"/>
              </a:rPr>
              <a:t>Source: </a:t>
            </a:r>
            <a:r>
              <a:rPr lang="en-US" dirty="0">
                <a:latin typeface="Verlag Book" pitchFamily="2" charset="0"/>
                <a:hlinkClick r:id="rId8"/>
              </a:rPr>
              <a:t>2022 CNBC Top States for Business Rankings</a:t>
            </a:r>
            <a:r>
              <a:rPr lang="en-US" dirty="0">
                <a:latin typeface="Verlag Book" pitchFamily="2" charset="0"/>
              </a:rPr>
              <a:t>; Tax Foundation; Code of Virginia</a:t>
            </a: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1</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1950990667"/>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ct 82" hidden="1">
            <a:extLst>
              <a:ext uri="{FF2B5EF4-FFF2-40B4-BE49-F238E27FC236}">
                <a16:creationId xmlns:a16="http://schemas.microsoft.com/office/drawing/2014/main" id="{E1084622-6F0F-A30B-B5C5-3280A732496F}"/>
              </a:ext>
            </a:extLst>
          </p:cNvPr>
          <p:cNvGraphicFramePr>
            <a:graphicFrameLocks noChangeAspect="1"/>
          </p:cNvGraphicFramePr>
          <p:nvPr>
            <p:custDataLst>
              <p:tags r:id="rId1"/>
            </p:custDataLst>
            <p:extLst>
              <p:ext uri="{D42A27DB-BD31-4B8C-83A1-F6EECF244321}">
                <p14:modId xmlns:p14="http://schemas.microsoft.com/office/powerpoint/2010/main" val="2861837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3" name="Object 82" hidden="1">
                        <a:extLst>
                          <a:ext uri="{FF2B5EF4-FFF2-40B4-BE49-F238E27FC236}">
                            <a16:creationId xmlns:a16="http://schemas.microsoft.com/office/drawing/2014/main" id="{E1084622-6F0F-A30B-B5C5-3280A73249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31B922-FCD1-4880-8A44-04E5BDD484BA}"/>
              </a:ext>
            </a:extLst>
          </p:cNvPr>
          <p:cNvSpPr>
            <a:spLocks noGrp="1"/>
          </p:cNvSpPr>
          <p:nvPr>
            <p:ph type="title"/>
          </p:nvPr>
        </p:nvSpPr>
        <p:spPr>
          <a:xfrm>
            <a:off x="431799" y="450519"/>
            <a:ext cx="8280400" cy="567394"/>
          </a:xfrm>
        </p:spPr>
        <p:txBody>
          <a:bodyPr vert="horz"/>
          <a:lstStyle/>
          <a:p>
            <a:r>
              <a:rPr lang="en-US" dirty="0">
                <a:latin typeface="Verlag Bold" pitchFamily="2" charset="0"/>
              </a:rPr>
              <a:t>Virginia’s corporate income tax rates remain flat while competitors lower rates to enhance their business climate</a:t>
            </a:r>
          </a:p>
        </p:txBody>
      </p:sp>
      <p:sp>
        <p:nvSpPr>
          <p:cNvPr id="5" name="Slide Number Placeholder 4">
            <a:extLst>
              <a:ext uri="{FF2B5EF4-FFF2-40B4-BE49-F238E27FC236}">
                <a16:creationId xmlns:a16="http://schemas.microsoft.com/office/drawing/2014/main" id="{94CFD307-6DAB-473D-AF83-06BB85B99DE9}"/>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2</a:t>
            </a:fld>
            <a:endParaRPr lang="en-US" sz="900" b="1" dirty="0">
              <a:solidFill>
                <a:schemeClr val="accent1"/>
              </a:solidFill>
              <a:latin typeface="Verlag Bold" pitchFamily="2" charset="0"/>
            </a:endParaRPr>
          </a:p>
        </p:txBody>
      </p:sp>
      <p:sp>
        <p:nvSpPr>
          <p:cNvPr id="35" name="Subtitle 8">
            <a:extLst>
              <a:ext uri="{FF2B5EF4-FFF2-40B4-BE49-F238E27FC236}">
                <a16:creationId xmlns:a16="http://schemas.microsoft.com/office/drawing/2014/main" id="{B6B8C041-3061-37F7-68FE-4AA402720C9A}"/>
              </a:ext>
            </a:extLst>
          </p:cNvPr>
          <p:cNvSpPr>
            <a:spLocks noGrp="1"/>
          </p:cNvSpPr>
          <p:nvPr>
            <p:ph type="subTitle" sz="quarter" idx="1000"/>
          </p:nvPr>
        </p:nvSpPr>
        <p:spPr>
          <a:xfrm>
            <a:off x="350040" y="6097952"/>
            <a:ext cx="6117047" cy="505508"/>
          </a:xfrm>
        </p:spPr>
        <p:txBody>
          <a:bodyPr/>
          <a:lstStyle/>
          <a:p>
            <a:pPr marL="6350" marR="0" lvl="0" indent="-1588" algn="l" defTabSz="914400" rtl="0" eaLnBrk="1" fontAlgn="auto" latinLnBrk="0" hangingPunct="1">
              <a:lnSpc>
                <a:spcPct val="90000"/>
              </a:lnSpc>
              <a:spcBef>
                <a:spcPts val="75"/>
              </a:spcBef>
              <a:spcAft>
                <a:spcPts val="75"/>
              </a:spcAft>
              <a:buClrTx/>
              <a:buSzPct val="100000"/>
              <a:buFontTx/>
              <a:buNone/>
              <a:tabLst/>
              <a:defRPr/>
            </a:pPr>
            <a:r>
              <a:rPr lang="en-US" dirty="0">
                <a:latin typeface="Verlag Book" pitchFamily="2" charset="0"/>
              </a:rPr>
              <a:t>Source: Statutory tax rates in respective states</a:t>
            </a:r>
          </a:p>
          <a:p>
            <a:pPr marL="6350" marR="0" lvl="0" indent="-1588" fontAlgn="auto">
              <a:buClrTx/>
              <a:buFontTx/>
              <a:buNone/>
              <a:defRPr/>
            </a:pPr>
            <a:r>
              <a:rPr lang="en-US" dirty="0">
                <a:latin typeface="Verlag Book" pitchFamily="2" charset="0"/>
              </a:rPr>
              <a:t>Texas does not levy a corporate income tax. However, it does levy statewide gross receipts taxes of 0.375% on retail and wholesale firms, and of 0.75%</a:t>
            </a:r>
          </a:p>
        </p:txBody>
      </p:sp>
      <p:cxnSp>
        <p:nvCxnSpPr>
          <p:cNvPr id="9" name="Straight Connector 8">
            <a:extLst>
              <a:ext uri="{FF2B5EF4-FFF2-40B4-BE49-F238E27FC236}">
                <a16:creationId xmlns:a16="http://schemas.microsoft.com/office/drawing/2014/main" id="{6BBEA575-4E31-6F13-3732-0CEF8B324E7A}"/>
              </a:ext>
            </a:extLst>
          </p:cNvPr>
          <p:cNvCxnSpPr/>
          <p:nvPr/>
        </p:nvCxnSpPr>
        <p:spPr>
          <a:xfrm flipV="1">
            <a:off x="4920792" y="1847651"/>
            <a:ext cx="0" cy="34290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27AD6CA7-7084-F855-FED7-BC0A10D12F7A}"/>
              </a:ext>
            </a:extLst>
          </p:cNvPr>
          <p:cNvGrpSpPr/>
          <p:nvPr/>
        </p:nvGrpSpPr>
        <p:grpSpPr>
          <a:xfrm>
            <a:off x="1038672" y="1017913"/>
            <a:ext cx="6766384" cy="4659085"/>
            <a:chOff x="1038673" y="1175658"/>
            <a:chExt cx="6766384" cy="4659085"/>
          </a:xfrm>
        </p:grpSpPr>
        <p:graphicFrame>
          <p:nvGraphicFramePr>
            <p:cNvPr id="7" name="Chart 6">
              <a:extLst>
                <a:ext uri="{FF2B5EF4-FFF2-40B4-BE49-F238E27FC236}">
                  <a16:creationId xmlns:a16="http://schemas.microsoft.com/office/drawing/2014/main" id="{ED47854F-CECE-EA49-17B5-67E58E2D85CA}"/>
                </a:ext>
              </a:extLst>
            </p:cNvPr>
            <p:cNvGraphicFramePr>
              <a:graphicFrameLocks/>
            </p:cNvGraphicFramePr>
            <p:nvPr>
              <p:extLst>
                <p:ext uri="{D42A27DB-BD31-4B8C-83A1-F6EECF244321}">
                  <p14:modId xmlns:p14="http://schemas.microsoft.com/office/powerpoint/2010/main" val="629527501"/>
                </p:ext>
              </p:extLst>
            </p:nvPr>
          </p:nvGraphicFramePr>
          <p:xfrm>
            <a:off x="1338943" y="1175658"/>
            <a:ext cx="6466114" cy="4659085"/>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7B53F4C4-0B02-F3AB-149E-237C3E936E16}"/>
                </a:ext>
              </a:extLst>
            </p:cNvPr>
            <p:cNvSpPr txBox="1"/>
            <p:nvPr/>
          </p:nvSpPr>
          <p:spPr>
            <a:xfrm rot="16200000">
              <a:off x="426371" y="3352344"/>
              <a:ext cx="140926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Statutory Rate (%)</a:t>
              </a:r>
              <a:endParaRPr lang="en-US" sz="1400" dirty="0">
                <a:latin typeface="Verlag Book" pitchFamily="2" charset="0"/>
                <a:ea typeface="Arial" charset="0"/>
                <a:cs typeface="Arial" charset="0"/>
              </a:endParaRPr>
            </a:p>
          </p:txBody>
        </p:sp>
      </p:grpSp>
      <p:sp>
        <p:nvSpPr>
          <p:cNvPr id="13" name="TextBox 12">
            <a:extLst>
              <a:ext uri="{FF2B5EF4-FFF2-40B4-BE49-F238E27FC236}">
                <a16:creationId xmlns:a16="http://schemas.microsoft.com/office/drawing/2014/main" id="{5A02AE1F-DE12-71FD-3E17-C2D6EE1C89DD}"/>
              </a:ext>
            </a:extLst>
          </p:cNvPr>
          <p:cNvSpPr txBox="1"/>
          <p:nvPr/>
        </p:nvSpPr>
        <p:spPr>
          <a:xfrm>
            <a:off x="7675052" y="2890166"/>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SC</a:t>
            </a:r>
            <a:endParaRPr lang="en-US" sz="1400" dirty="0">
              <a:latin typeface="Verlag Book" pitchFamily="2" charset="0"/>
              <a:ea typeface="Arial" charset="0"/>
              <a:cs typeface="Arial" charset="0"/>
            </a:endParaRPr>
          </a:p>
        </p:txBody>
      </p:sp>
      <p:sp>
        <p:nvSpPr>
          <p:cNvPr id="14" name="TextBox 13">
            <a:extLst>
              <a:ext uri="{FF2B5EF4-FFF2-40B4-BE49-F238E27FC236}">
                <a16:creationId xmlns:a16="http://schemas.microsoft.com/office/drawing/2014/main" id="{71D0D8D5-5492-DA59-8A5A-53DADE212C36}"/>
              </a:ext>
            </a:extLst>
          </p:cNvPr>
          <p:cNvSpPr txBox="1"/>
          <p:nvPr/>
        </p:nvSpPr>
        <p:spPr>
          <a:xfrm>
            <a:off x="7660652" y="2242466"/>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TN</a:t>
            </a:r>
            <a:endParaRPr lang="en-US" sz="1400" dirty="0">
              <a:latin typeface="Verlag Book" pitchFamily="2" charset="0"/>
              <a:ea typeface="Arial" charset="0"/>
              <a:cs typeface="Arial" charset="0"/>
            </a:endParaRPr>
          </a:p>
        </p:txBody>
      </p:sp>
      <p:sp>
        <p:nvSpPr>
          <p:cNvPr id="16" name="TextBox 15">
            <a:extLst>
              <a:ext uri="{FF2B5EF4-FFF2-40B4-BE49-F238E27FC236}">
                <a16:creationId xmlns:a16="http://schemas.microsoft.com/office/drawing/2014/main" id="{66778C78-281A-A2FF-7CC9-4858B65B0E1C}"/>
              </a:ext>
            </a:extLst>
          </p:cNvPr>
          <p:cNvSpPr txBox="1"/>
          <p:nvPr/>
        </p:nvSpPr>
        <p:spPr>
          <a:xfrm>
            <a:off x="7675052" y="2473983"/>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VA</a:t>
            </a:r>
            <a:endParaRPr lang="en-US" sz="1400" dirty="0">
              <a:latin typeface="Verlag Book" pitchFamily="2" charset="0"/>
              <a:ea typeface="Arial" charset="0"/>
              <a:cs typeface="Arial" charset="0"/>
            </a:endParaRPr>
          </a:p>
        </p:txBody>
      </p:sp>
      <p:sp>
        <p:nvSpPr>
          <p:cNvPr id="17" name="TextBox 16">
            <a:extLst>
              <a:ext uri="{FF2B5EF4-FFF2-40B4-BE49-F238E27FC236}">
                <a16:creationId xmlns:a16="http://schemas.microsoft.com/office/drawing/2014/main" id="{5B725D1D-40A9-612E-9EF0-876005462C64}"/>
              </a:ext>
            </a:extLst>
          </p:cNvPr>
          <p:cNvSpPr txBox="1"/>
          <p:nvPr/>
        </p:nvSpPr>
        <p:spPr>
          <a:xfrm>
            <a:off x="7675052" y="2682074"/>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FL</a:t>
            </a:r>
            <a:endParaRPr lang="en-US" sz="1400" dirty="0">
              <a:latin typeface="Verlag Book" pitchFamily="2" charset="0"/>
              <a:ea typeface="Arial" charset="0"/>
              <a:cs typeface="Arial" charset="0"/>
            </a:endParaRPr>
          </a:p>
        </p:txBody>
      </p:sp>
      <p:sp>
        <p:nvSpPr>
          <p:cNvPr id="18" name="TextBox 17">
            <a:extLst>
              <a:ext uri="{FF2B5EF4-FFF2-40B4-BE49-F238E27FC236}">
                <a16:creationId xmlns:a16="http://schemas.microsoft.com/office/drawing/2014/main" id="{4F65E62E-F98E-EEA2-2D81-BECCF57B9AC4}"/>
              </a:ext>
            </a:extLst>
          </p:cNvPr>
          <p:cNvSpPr txBox="1"/>
          <p:nvPr/>
        </p:nvSpPr>
        <p:spPr>
          <a:xfrm>
            <a:off x="7675052" y="4953442"/>
            <a:ext cx="260009" cy="184666"/>
          </a:xfrm>
          <a:prstGeom prst="rect">
            <a:avLst/>
          </a:prstGeom>
        </p:spPr>
        <p:txBody>
          <a:bodyPr vert="horz" wrap="square" lIns="0" tIns="0" rIns="0" bIns="0" rtlCol="0" anchor="t">
            <a:spAutoFit/>
          </a:bodyPr>
          <a:lstStyle/>
          <a:p>
            <a:pPr algn="l"/>
            <a:r>
              <a:rPr lang="en-US" dirty="0">
                <a:latin typeface="Verlag Book" pitchFamily="2" charset="0"/>
                <a:ea typeface="Arial" charset="0"/>
                <a:cs typeface="Arial" charset="0"/>
              </a:rPr>
              <a:t>NC</a:t>
            </a:r>
            <a:endParaRPr lang="en-US" sz="1400" dirty="0">
              <a:latin typeface="Verlag Book" pitchFamily="2" charset="0"/>
              <a:ea typeface="Arial" charset="0"/>
              <a:cs typeface="Arial" charset="0"/>
            </a:endParaRPr>
          </a:p>
        </p:txBody>
      </p:sp>
    </p:spTree>
    <p:extLst>
      <p:ext uri="{BB962C8B-B14F-4D97-AF65-F5344CB8AC3E}">
        <p14:creationId xmlns:p14="http://schemas.microsoft.com/office/powerpoint/2010/main" val="41594462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786687" y="2995235"/>
            <a:ext cx="5446546"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gn="ctr">
              <a:lnSpc>
                <a:spcPct val="100000"/>
              </a:lnSpc>
            </a:pPr>
            <a:r>
              <a:rPr lang="en-US" sz="3600" cap="none" dirty="0">
                <a:solidFill>
                  <a:schemeClr val="bg1"/>
                </a:solidFill>
                <a:latin typeface="Verlag Bold" pitchFamily="2" charset="0"/>
              </a:rPr>
              <a:t>Drive Innovation</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20ABA388-E7FC-1E5B-72E1-C83F779E0DF4}"/>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3</a:t>
            </a:fld>
            <a:endParaRPr lang="en-US" dirty="0">
              <a:latin typeface="Verlag Bold" pitchFamily="2" charset="0"/>
            </a:endParaRPr>
          </a:p>
        </p:txBody>
      </p:sp>
      <p:cxnSp>
        <p:nvCxnSpPr>
          <p:cNvPr id="4" name="Straight Connector 3">
            <a:extLst>
              <a:ext uri="{FF2B5EF4-FFF2-40B4-BE49-F238E27FC236}">
                <a16:creationId xmlns:a16="http://schemas.microsoft.com/office/drawing/2014/main" id="{DADD8E75-7B2E-F91E-5988-D1E949BA42B2}"/>
              </a:ext>
            </a:extLst>
          </p:cNvPr>
          <p:cNvCxnSpPr>
            <a:cxnSpLocks/>
          </p:cNvCxnSpPr>
          <p:nvPr/>
        </p:nvCxnSpPr>
        <p:spPr>
          <a:xfrm>
            <a:off x="1932495" y="3774415"/>
            <a:ext cx="508743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705522"/>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1472040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05606" y="778676"/>
            <a:ext cx="8562975" cy="5738012"/>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Create a statewide culture conducive to entrepreneurship by enhancing connections between businesses, universities, investors, and talent, and reduce regulations and cost burdens for small businesses and early-stage companies</a:t>
            </a:r>
          </a:p>
          <a:p>
            <a:pPr marL="0" lvl="2" indent="0">
              <a:buNone/>
            </a:pPr>
            <a:endParaRPr lang="en-US" sz="600" b="1" dirty="0">
              <a:solidFill>
                <a:schemeClr val="accent1"/>
              </a:solidFill>
            </a:endParaRPr>
          </a:p>
          <a:p>
            <a:pPr marL="0" lvl="2" indent="0">
              <a:buNone/>
            </a:pPr>
            <a:r>
              <a:rPr lang="en-US" sz="1500" b="1" dirty="0">
                <a:solidFill>
                  <a:schemeClr val="accent1"/>
                </a:solidFill>
              </a:rPr>
              <a:t>Key issues</a:t>
            </a:r>
          </a:p>
          <a:p>
            <a:pPr lvl="2"/>
            <a:r>
              <a:rPr lang="en-US" sz="1500" dirty="0"/>
              <a:t>Virginia compares unfavorably to most other U.S. states in entrepreneurship rates, ranking below national averages in early-stage entrepreneurship and new employer business indicators</a:t>
            </a:r>
          </a:p>
          <a:p>
            <a:pPr lvl="3"/>
            <a:r>
              <a:rPr lang="en-US" sz="1500" dirty="0"/>
              <a:t>In 2021, Virginia ranked 41st among states in rates of new entrepreneurs and 36th in startup survival rates (percentage of startups still active after one year)</a:t>
            </a:r>
          </a:p>
          <a:p>
            <a:pPr lvl="2"/>
            <a:r>
              <a:rPr lang="en-US" sz="1500" dirty="0"/>
              <a:t>Virginia’s decentralized university structure and limited commercialization create challenges to entrepreneurship in the Commonwealth</a:t>
            </a:r>
          </a:p>
          <a:p>
            <a:pPr marL="0" lvl="2" indent="0">
              <a:buNone/>
            </a:pPr>
            <a:endParaRPr lang="en-US" sz="600" dirty="0"/>
          </a:p>
          <a:p>
            <a:pPr marL="0" lvl="2" indent="0">
              <a:buNone/>
            </a:pPr>
            <a:r>
              <a:rPr lang="en-US" sz="1500" b="1" dirty="0">
                <a:solidFill>
                  <a:schemeClr val="accent1"/>
                </a:solidFill>
              </a:rPr>
              <a:t>Initiatives</a:t>
            </a:r>
          </a:p>
          <a:p>
            <a:pPr lvl="2"/>
            <a:r>
              <a:rPr lang="en-US" sz="1500" dirty="0"/>
              <a:t>Identify opportunities to enhance state business culture to attract early-stage investors, including potential incentives for early-stage capital investments and enhancements to related regulations</a:t>
            </a:r>
          </a:p>
          <a:p>
            <a:pPr lvl="2"/>
            <a:r>
              <a:rPr lang="en-US" sz="1500" dirty="0"/>
              <a:t>Expand and leverage accelerator and incubator networks to spur innovation and startup creation in Virginia</a:t>
            </a:r>
          </a:p>
          <a:p>
            <a:pPr lvl="2"/>
            <a:r>
              <a:rPr lang="en-US" sz="1500" dirty="0">
                <a:cs typeface="Arial" panose="020B0604020202020204"/>
              </a:rPr>
              <a:t>Leverage VIPC’s recently relaunched Entrepreneur-in-Residence Program to promote expanded tech transfer and commercialization support for Virginia’s universities</a:t>
            </a:r>
          </a:p>
          <a:p>
            <a:pPr lvl="2"/>
            <a:r>
              <a:rPr lang="en-US" sz="1500" dirty="0">
                <a:cs typeface="Arial" panose="020B0604020202020204"/>
              </a:rPr>
              <a:t>Leverage GO Virginia and VIPC’s Regional Innovation Fund to expand investment in regional innovation ecosystems and staff to connect entrepreneurs, universities, and businesses</a:t>
            </a:r>
          </a:p>
          <a:p>
            <a:pPr lvl="2"/>
            <a:r>
              <a:rPr lang="en-US" sz="1500" dirty="0">
                <a:cs typeface="Arial" panose="020B0604020202020204"/>
              </a:rPr>
              <a:t>Identify opportunities to ease regulatory and tax burdens for Virginia small businesses and startups, including business registration costs, BPOL, property, and unemployment insurance tax reform</a:t>
            </a:r>
          </a:p>
        </p:txBody>
      </p:sp>
      <p:sp>
        <p:nvSpPr>
          <p:cNvPr id="10" name="Title 2">
            <a:extLst>
              <a:ext uri="{FF2B5EF4-FFF2-40B4-BE49-F238E27FC236}">
                <a16:creationId xmlns:a16="http://schemas.microsoft.com/office/drawing/2014/main" id="{2F8B7626-8D49-68AE-F415-34DB604D5F0C}"/>
              </a:ext>
            </a:extLst>
          </p:cNvPr>
          <p:cNvSpPr>
            <a:spLocks noGrp="1"/>
          </p:cNvSpPr>
          <p:nvPr>
            <p:ph type="title"/>
          </p:nvPr>
        </p:nvSpPr>
        <p:spPr>
          <a:xfrm>
            <a:off x="405606" y="110926"/>
            <a:ext cx="8280400" cy="567394"/>
          </a:xfrm>
        </p:spPr>
        <p:txBody>
          <a:bodyPr vert="horz"/>
          <a:lstStyle/>
          <a:p>
            <a:r>
              <a:rPr lang="en-US" dirty="0"/>
              <a:t>DRIVE INNOVATION: entrepreneurship &amp; SMALL BUSINESS</a:t>
            </a:r>
          </a:p>
        </p:txBody>
      </p:sp>
      <p:sp>
        <p:nvSpPr>
          <p:cNvPr id="4" name="Subtitle 3">
            <a:extLst>
              <a:ext uri="{FF2B5EF4-FFF2-40B4-BE49-F238E27FC236}">
                <a16:creationId xmlns:a16="http://schemas.microsoft.com/office/drawing/2014/main" id="{C8E4F9ED-32D7-0FD5-C63D-EE864638CB28}"/>
              </a:ext>
            </a:extLst>
          </p:cNvPr>
          <p:cNvSpPr>
            <a:spLocks noGrp="1"/>
          </p:cNvSpPr>
          <p:nvPr>
            <p:ph type="subTitle" sz="quarter" idx="1000"/>
          </p:nvPr>
        </p:nvSpPr>
        <p:spPr>
          <a:xfrm>
            <a:off x="405606" y="6185805"/>
            <a:ext cx="7440613" cy="505508"/>
          </a:xfrm>
        </p:spPr>
        <p:txBody>
          <a:bodyPr/>
          <a:lstStyle/>
          <a:p>
            <a:pPr indent="-1270"/>
            <a:r>
              <a:rPr lang="en-US" dirty="0">
                <a:latin typeface="Verlag Book" pitchFamily="2" charset="0"/>
              </a:rPr>
              <a:t>Source: </a:t>
            </a:r>
            <a:r>
              <a:rPr lang="en-US" dirty="0">
                <a:latin typeface="Verlag Book" pitchFamily="2" charset="0"/>
                <a:hlinkClick r:id="rId6"/>
              </a:rPr>
              <a:t>Kauffman Indicators of Entrepreneurship</a:t>
            </a:r>
            <a:r>
              <a:rPr lang="en-US" dirty="0">
                <a:latin typeface="Verlag Book" pitchFamily="2" charset="0"/>
              </a:rPr>
              <a:t>; </a:t>
            </a:r>
            <a:r>
              <a:rPr lang="en-US" dirty="0">
                <a:latin typeface="Verlag Book" pitchFamily="2" charset="0"/>
                <a:hlinkClick r:id="rId7"/>
              </a:rPr>
              <a:t>Entrepreneurship in 2020: VA Snapshot</a:t>
            </a:r>
            <a:r>
              <a:rPr lang="en-US" dirty="0">
                <a:latin typeface="Verlag Book" pitchFamily="2" charset="0"/>
              </a:rPr>
              <a:t>; </a:t>
            </a:r>
            <a:r>
              <a:rPr lang="en-US" dirty="0">
                <a:latin typeface="Verlag Book" pitchFamily="2" charset="0"/>
                <a:hlinkClick r:id="rId8"/>
              </a:rPr>
              <a:t>2022 CNBC Top States for Business Rankings</a:t>
            </a:r>
            <a:endParaRPr lang="en-US" dirty="0">
              <a:latin typeface="Verlag Book" pitchFamily="2" charset="0"/>
              <a:cs typeface="Arial"/>
            </a:endParaRP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4</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27344595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4D037B-80E6-74D7-E94C-63C328C4832C}"/>
              </a:ext>
            </a:extLst>
          </p:cNvPr>
          <p:cNvGraphicFramePr>
            <a:graphicFrameLocks noChangeAspect="1"/>
          </p:cNvGraphicFramePr>
          <p:nvPr>
            <p:custDataLst>
              <p:tags r:id="rId2"/>
            </p:custDataLst>
            <p:extLst>
              <p:ext uri="{D42A27DB-BD31-4B8C-83A1-F6EECF244321}">
                <p14:modId xmlns:p14="http://schemas.microsoft.com/office/powerpoint/2010/main" val="3204223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 name="Object 7" hidden="1">
                        <a:extLst>
                          <a:ext uri="{FF2B5EF4-FFF2-40B4-BE49-F238E27FC236}">
                            <a16:creationId xmlns:a16="http://schemas.microsoft.com/office/drawing/2014/main" id="{6D4D037B-80E6-74D7-E94C-63C328C483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DD3A0A27-6585-CDF7-2CCA-C2DF30B2AD06}"/>
              </a:ext>
            </a:extLst>
          </p:cNvPr>
          <p:cNvGraphicFramePr>
            <a:graphicFrameLocks noGrp="1"/>
          </p:cNvGraphicFramePr>
          <p:nvPr>
            <p:ph sz="quarter" idx="200"/>
            <p:extLst>
              <p:ext uri="{D42A27DB-BD31-4B8C-83A1-F6EECF244321}">
                <p14:modId xmlns:p14="http://schemas.microsoft.com/office/powerpoint/2010/main" val="575268547"/>
              </p:ext>
            </p:extLst>
          </p:nvPr>
        </p:nvGraphicFramePr>
        <p:xfrm>
          <a:off x="509641" y="1965960"/>
          <a:ext cx="8297331" cy="2926080"/>
        </p:xfrm>
        <a:graphic>
          <a:graphicData uri="http://schemas.openxmlformats.org/drawingml/2006/table">
            <a:tbl>
              <a:tblPr firstRow="1" bandRow="1"/>
              <a:tblGrid>
                <a:gridCol w="1567007">
                  <a:extLst>
                    <a:ext uri="{9D8B030D-6E8A-4147-A177-3AD203B41FA5}">
                      <a16:colId xmlns:a16="http://schemas.microsoft.com/office/drawing/2014/main" val="1475643083"/>
                    </a:ext>
                  </a:extLst>
                </a:gridCol>
                <a:gridCol w="1459340">
                  <a:extLst>
                    <a:ext uri="{9D8B030D-6E8A-4147-A177-3AD203B41FA5}">
                      <a16:colId xmlns:a16="http://schemas.microsoft.com/office/drawing/2014/main" val="1870050528"/>
                    </a:ext>
                  </a:extLst>
                </a:gridCol>
                <a:gridCol w="1923169">
                  <a:extLst>
                    <a:ext uri="{9D8B030D-6E8A-4147-A177-3AD203B41FA5}">
                      <a16:colId xmlns:a16="http://schemas.microsoft.com/office/drawing/2014/main" val="1431674723"/>
                    </a:ext>
                  </a:extLst>
                </a:gridCol>
                <a:gridCol w="1630542">
                  <a:extLst>
                    <a:ext uri="{9D8B030D-6E8A-4147-A177-3AD203B41FA5}">
                      <a16:colId xmlns:a16="http://schemas.microsoft.com/office/drawing/2014/main" val="1653691609"/>
                    </a:ext>
                  </a:extLst>
                </a:gridCol>
                <a:gridCol w="1717273">
                  <a:extLst>
                    <a:ext uri="{9D8B030D-6E8A-4147-A177-3AD203B41FA5}">
                      <a16:colId xmlns:a16="http://schemas.microsoft.com/office/drawing/2014/main" val="2564067598"/>
                    </a:ext>
                  </a:extLst>
                </a:gridCol>
              </a:tblGrid>
              <a:tr h="468190">
                <a:tc>
                  <a:txBody>
                    <a:bodyPr/>
                    <a:lstStyle/>
                    <a:p>
                      <a:pPr marL="0" algn="l" defTabSz="914400" rtl="0" eaLnBrk="1" fontAlgn="ctr" latinLnBrk="0" hangingPunct="1"/>
                      <a:r>
                        <a:rPr lang="en-US" sz="1600" b="1" kern="1200" dirty="0">
                          <a:solidFill>
                            <a:schemeClr val="accent1"/>
                          </a:solidFill>
                          <a:effectLst/>
                          <a:latin typeface="Verlag Book" pitchFamily="2" charset="0"/>
                          <a:ea typeface="+mn-ea"/>
                          <a:cs typeface="+mn-cs"/>
                        </a:rPr>
                        <a:t>State</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1" kern="1200" dirty="0">
                          <a:solidFill>
                            <a:schemeClr val="accent1"/>
                          </a:solidFill>
                          <a:effectLst/>
                          <a:latin typeface="Verlag Book" pitchFamily="2" charset="0"/>
                          <a:ea typeface="+mn-ea"/>
                          <a:cs typeface="+mn-cs"/>
                        </a:rPr>
                        <a:t>Rate of New Entrepreneurs</a:t>
                      </a:r>
                      <a:r>
                        <a:rPr lang="en-US" sz="1600" b="1" kern="1200" baseline="30000" dirty="0">
                          <a:solidFill>
                            <a:schemeClr val="accent1"/>
                          </a:solidFill>
                          <a:effectLst/>
                          <a:latin typeface="Verlag Book" pitchFamily="2" charset="0"/>
                          <a:ea typeface="+mn-ea"/>
                          <a:cs typeface="+mn-cs"/>
                        </a:rPr>
                        <a:t>1</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1" kern="1200" dirty="0">
                          <a:solidFill>
                            <a:schemeClr val="accent1"/>
                          </a:solidFill>
                          <a:effectLst/>
                          <a:latin typeface="Verlag Book" pitchFamily="2" charset="0"/>
                          <a:ea typeface="+mn-ea"/>
                          <a:cs typeface="+mn-cs"/>
                        </a:rPr>
                        <a:t>Opportunity Share of New Entrepreneurs</a:t>
                      </a:r>
                      <a:r>
                        <a:rPr lang="en-US" sz="1600" b="1" kern="1200" baseline="30000" dirty="0">
                          <a:solidFill>
                            <a:schemeClr val="accent1"/>
                          </a:solidFill>
                          <a:effectLst/>
                          <a:latin typeface="Verlag Book" pitchFamily="2" charset="0"/>
                          <a:ea typeface="+mn-ea"/>
                          <a:cs typeface="+mn-cs"/>
                        </a:rPr>
                        <a:t>2</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1" kern="1200" dirty="0">
                          <a:solidFill>
                            <a:schemeClr val="accent1"/>
                          </a:solidFill>
                          <a:effectLst/>
                          <a:latin typeface="Verlag Book" pitchFamily="2" charset="0"/>
                          <a:ea typeface="+mn-ea"/>
                          <a:cs typeface="+mn-cs"/>
                        </a:rPr>
                        <a:t>Startup Early Job Creation</a:t>
                      </a:r>
                      <a:r>
                        <a:rPr lang="en-US" sz="1600" b="1" kern="1200" baseline="30000" dirty="0">
                          <a:solidFill>
                            <a:schemeClr val="accent1"/>
                          </a:solidFill>
                          <a:effectLst/>
                          <a:latin typeface="Verlag Book" pitchFamily="2" charset="0"/>
                          <a:ea typeface="+mn-ea"/>
                          <a:cs typeface="+mn-cs"/>
                        </a:rPr>
                        <a:t>3</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1" kern="1200" dirty="0">
                          <a:solidFill>
                            <a:schemeClr val="accent1"/>
                          </a:solidFill>
                          <a:effectLst/>
                          <a:latin typeface="Verlag Book" pitchFamily="2" charset="0"/>
                          <a:ea typeface="+mn-ea"/>
                          <a:cs typeface="+mn-cs"/>
                        </a:rPr>
                        <a:t>Startup </a:t>
                      </a:r>
                    </a:p>
                    <a:p>
                      <a:pPr marL="0" algn="r" defTabSz="914400" rtl="0" eaLnBrk="1" fontAlgn="ctr" latinLnBrk="0" hangingPunct="1"/>
                      <a:r>
                        <a:rPr lang="en-US" sz="1600" b="1" kern="1200" dirty="0">
                          <a:solidFill>
                            <a:schemeClr val="accent1"/>
                          </a:solidFill>
                          <a:effectLst/>
                          <a:latin typeface="Verlag Book" pitchFamily="2" charset="0"/>
                          <a:ea typeface="+mn-ea"/>
                          <a:cs typeface="+mn-cs"/>
                        </a:rPr>
                        <a:t>Early Survival Rate</a:t>
                      </a:r>
                      <a:r>
                        <a:rPr lang="en-US" sz="1600" b="1" kern="1200" baseline="30000" dirty="0">
                          <a:solidFill>
                            <a:schemeClr val="accent1"/>
                          </a:solidFill>
                          <a:effectLst/>
                          <a:latin typeface="Verlag Book" pitchFamily="2" charset="0"/>
                          <a:ea typeface="+mn-ea"/>
                          <a:cs typeface="+mn-cs"/>
                        </a:rPr>
                        <a:t>4</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5336147"/>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Florida</a:t>
                      </a:r>
                    </a:p>
                  </a:txBody>
                  <a:tcPr anchor="b">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a:t>
                      </a:r>
                    </a:p>
                  </a:txBody>
                  <a:tcPr marL="6350" marR="6350" marT="635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7</a:t>
                      </a:r>
                    </a:p>
                  </a:txBody>
                  <a:tcPr marL="6350" marR="6350" marT="635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a:t>
                      </a:r>
                    </a:p>
                  </a:txBody>
                  <a:tcPr marL="6350" marR="6350" marT="635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30</a:t>
                      </a:r>
                    </a:p>
                  </a:txBody>
                  <a:tcPr marL="6350" marR="6350" marT="635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6488786"/>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Georgia</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3</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9</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0</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35</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7652344"/>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Texas</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5</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5</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3</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8</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8983037"/>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Tennessee</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1</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0</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0</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8</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4545691"/>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North Carolina</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2</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35</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9</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8</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7982370"/>
                  </a:ext>
                </a:extLst>
              </a:tr>
              <a:tr h="271253">
                <a:tc>
                  <a:txBody>
                    <a:bodyPr/>
                    <a:lstStyle/>
                    <a:p>
                      <a:pPr marL="0" algn="l" defTabSz="914400" rtl="0" eaLnBrk="1" fontAlgn="ctr" latinLnBrk="0" hangingPunct="1"/>
                      <a:r>
                        <a:rPr lang="en-US" sz="1600" b="0" i="0" u="none" strike="noStrike" kern="1200" dirty="0">
                          <a:solidFill>
                            <a:srgbClr val="000000"/>
                          </a:solidFill>
                          <a:effectLst/>
                          <a:latin typeface="Verlag Book" pitchFamily="2" charset="0"/>
                          <a:ea typeface="+mn-ea"/>
                          <a:cs typeface="+mn-cs"/>
                        </a:rPr>
                        <a:t>South Carolina</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30</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2</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29</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600" b="0" i="0" u="none" strike="noStrike" kern="1200" dirty="0">
                          <a:solidFill>
                            <a:srgbClr val="000000"/>
                          </a:solidFill>
                          <a:effectLst/>
                          <a:latin typeface="Verlag Book" pitchFamily="2" charset="0"/>
                          <a:ea typeface="+mn-ea"/>
                          <a:cs typeface="+mn-cs"/>
                        </a:rPr>
                        <a:t>12</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2076632"/>
                  </a:ext>
                </a:extLst>
              </a:tr>
              <a:tr h="271253">
                <a:tc>
                  <a:txBody>
                    <a:bodyPr/>
                    <a:lstStyle/>
                    <a:p>
                      <a:pPr marL="0" algn="l" defTabSz="914400" rtl="0" eaLnBrk="1" fontAlgn="ctr" latinLnBrk="0" hangingPunct="1"/>
                      <a:r>
                        <a:rPr lang="en-US" sz="1600" b="1" i="0" u="none" strike="noStrike" kern="1200" dirty="0">
                          <a:solidFill>
                            <a:schemeClr val="bg1"/>
                          </a:solidFill>
                          <a:effectLst/>
                          <a:latin typeface="Verlag Book" pitchFamily="2" charset="0"/>
                          <a:ea typeface="+mn-ea"/>
                          <a:cs typeface="+mn-cs"/>
                        </a:rPr>
                        <a:t>Virginia</a:t>
                      </a:r>
                    </a:p>
                  </a:txBody>
                  <a:tcPr anchor="b">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r" defTabSz="914400" rtl="0" eaLnBrk="1" fontAlgn="ctr" latinLnBrk="0" hangingPunct="1"/>
                      <a:r>
                        <a:rPr lang="en-US" sz="1600" b="1" i="0" u="none" strike="noStrike" kern="1200" dirty="0">
                          <a:solidFill>
                            <a:schemeClr val="bg1"/>
                          </a:solidFill>
                          <a:effectLst/>
                          <a:latin typeface="Verlag Book" pitchFamily="2" charset="0"/>
                          <a:ea typeface="+mn-ea"/>
                          <a:cs typeface="+mn-cs"/>
                        </a:rPr>
                        <a:t>41</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r" defTabSz="914400" rtl="0" eaLnBrk="1" fontAlgn="ctr" latinLnBrk="0" hangingPunct="1"/>
                      <a:r>
                        <a:rPr lang="en-US" sz="1600" b="1" i="0" u="none" strike="noStrike" kern="1200" dirty="0">
                          <a:solidFill>
                            <a:schemeClr val="bg1"/>
                          </a:solidFill>
                          <a:effectLst/>
                          <a:latin typeface="Verlag Book" pitchFamily="2" charset="0"/>
                          <a:ea typeface="+mn-ea"/>
                          <a:cs typeface="+mn-cs"/>
                        </a:rPr>
                        <a:t>23</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r" defTabSz="914400" rtl="0" eaLnBrk="1" fontAlgn="ctr" latinLnBrk="0" hangingPunct="1"/>
                      <a:r>
                        <a:rPr lang="en-US" sz="1600" b="1" i="0" u="none" strike="noStrike" kern="1200" dirty="0">
                          <a:solidFill>
                            <a:schemeClr val="bg1"/>
                          </a:solidFill>
                          <a:effectLst/>
                          <a:latin typeface="Verlag Book" pitchFamily="2" charset="0"/>
                          <a:ea typeface="+mn-ea"/>
                          <a:cs typeface="+mn-cs"/>
                        </a:rPr>
                        <a:t>19</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r" defTabSz="914400" rtl="0" eaLnBrk="1" fontAlgn="ctr" latinLnBrk="0" hangingPunct="1"/>
                      <a:r>
                        <a:rPr lang="en-US" sz="1600" b="1" i="0" u="none" strike="noStrike" kern="1200" dirty="0">
                          <a:solidFill>
                            <a:schemeClr val="bg1"/>
                          </a:solidFill>
                          <a:effectLst/>
                          <a:latin typeface="Verlag Book" pitchFamily="2" charset="0"/>
                          <a:ea typeface="+mn-ea"/>
                          <a:cs typeface="+mn-cs"/>
                        </a:rPr>
                        <a:t>36</a:t>
                      </a:r>
                    </a:p>
                  </a:txBody>
                  <a:tcPr marL="6350" marR="6350" marT="6350" marB="0"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070080163"/>
                  </a:ext>
                </a:extLst>
              </a:tr>
            </a:tbl>
          </a:graphicData>
        </a:graphic>
      </p:graphicFrame>
      <p:sp>
        <p:nvSpPr>
          <p:cNvPr id="3" name="Title 2">
            <a:extLst>
              <a:ext uri="{FF2B5EF4-FFF2-40B4-BE49-F238E27FC236}">
                <a16:creationId xmlns:a16="http://schemas.microsoft.com/office/drawing/2014/main" id="{655A26EB-2B87-44CF-9189-EED39DA9EE8F}"/>
              </a:ext>
            </a:extLst>
          </p:cNvPr>
          <p:cNvSpPr>
            <a:spLocks noGrp="1"/>
          </p:cNvSpPr>
          <p:nvPr>
            <p:ph type="title"/>
          </p:nvPr>
        </p:nvSpPr>
        <p:spPr>
          <a:xfrm>
            <a:off x="431800" y="470173"/>
            <a:ext cx="8280400" cy="567394"/>
          </a:xfrm>
        </p:spPr>
        <p:txBody>
          <a:bodyPr vert="horz"/>
          <a:lstStyle/>
          <a:p>
            <a:r>
              <a:rPr lang="en-US" dirty="0">
                <a:latin typeface="Verlag Bold" pitchFamily="2" charset="0"/>
              </a:rPr>
              <a:t>Virginia trails peer states in multiple measures of entrepreneurship</a:t>
            </a:r>
            <a:endParaRPr lang="en-CA" dirty="0">
              <a:latin typeface="Verlag Bold" pitchFamily="2" charset="0"/>
            </a:endParaRPr>
          </a:p>
        </p:txBody>
      </p:sp>
      <p:sp>
        <p:nvSpPr>
          <p:cNvPr id="4" name="Subtitle 3">
            <a:extLst>
              <a:ext uri="{FF2B5EF4-FFF2-40B4-BE49-F238E27FC236}">
                <a16:creationId xmlns:a16="http://schemas.microsoft.com/office/drawing/2014/main" id="{4B5B3183-C25F-404E-84CD-784F3095FC09}"/>
              </a:ext>
            </a:extLst>
          </p:cNvPr>
          <p:cNvSpPr>
            <a:spLocks noGrp="1"/>
          </p:cNvSpPr>
          <p:nvPr>
            <p:ph type="subTitle" sz="quarter" idx="1000"/>
          </p:nvPr>
        </p:nvSpPr>
        <p:spPr>
          <a:xfrm>
            <a:off x="509641" y="6135073"/>
            <a:ext cx="7440613" cy="505508"/>
          </a:xfrm>
        </p:spPr>
        <p:txBody>
          <a:bodyPr/>
          <a:lstStyle/>
          <a:p>
            <a:pPr marL="4763" lvl="1" indent="0">
              <a:buNone/>
            </a:pPr>
            <a:endParaRPr lang="en-US" dirty="0">
              <a:latin typeface="Verlag Book" pitchFamily="2" charset="0"/>
            </a:endParaRPr>
          </a:p>
          <a:p>
            <a:pPr lvl="1"/>
            <a:endParaRPr lang="en-US" dirty="0">
              <a:latin typeface="Verlag Book" pitchFamily="2" charset="0"/>
            </a:endParaRPr>
          </a:p>
          <a:p>
            <a:pPr marL="4763" marR="0" lvl="4" indent="0" algn="l" defTabSz="914400" rtl="0" eaLnBrk="1" fontAlgn="auto" latinLnBrk="0" hangingPunct="1">
              <a:lnSpc>
                <a:spcPct val="90000"/>
              </a:lnSpc>
              <a:spcBef>
                <a:spcPts val="75"/>
              </a:spcBef>
              <a:spcAft>
                <a:spcPts val="75"/>
              </a:spcAft>
              <a:buClrTx/>
              <a:buSzPct val="100000"/>
              <a:buFont typeface="System Font Regular"/>
              <a:buNone/>
              <a:tabLst/>
              <a:defRPr/>
            </a:pPr>
            <a:r>
              <a:rPr lang="en-CA" dirty="0">
                <a:latin typeface="Verlag Book" pitchFamily="2" charset="0"/>
              </a:rPr>
              <a:t>Source: </a:t>
            </a:r>
            <a:r>
              <a:rPr lang="en-US" dirty="0">
                <a:latin typeface="Verlag Book" pitchFamily="2" charset="0"/>
              </a:rPr>
              <a:t>Kauffman Foundation (2021 Early-Stage Entrepreneurship State Report)</a:t>
            </a:r>
          </a:p>
          <a:p>
            <a:pPr lvl="1"/>
            <a:r>
              <a:rPr lang="en-US" dirty="0">
                <a:latin typeface="Verlag Book" pitchFamily="2" charset="0"/>
              </a:rPr>
              <a:t>Rank of the percent of adults becoming entrepreneurs in a given month, one-year average</a:t>
            </a:r>
          </a:p>
          <a:p>
            <a:pPr lvl="2"/>
            <a:r>
              <a:rPr lang="en-US" dirty="0">
                <a:latin typeface="Verlag Book" pitchFamily="2" charset="0"/>
              </a:rPr>
              <a:t>Rank of the percent of new entrepreneurs who left other economic and educational activities to start a business, as opposed to leaving unemployment to start a business</a:t>
            </a:r>
          </a:p>
          <a:p>
            <a:pPr lvl="3"/>
            <a:r>
              <a:rPr lang="en-US" dirty="0">
                <a:latin typeface="Verlag Book" pitchFamily="2" charset="0"/>
              </a:rPr>
              <a:t>Rank of the jobs created by start-ups per 1,000 people</a:t>
            </a:r>
          </a:p>
          <a:p>
            <a:pPr lvl="4"/>
            <a:r>
              <a:rPr lang="en-US" dirty="0">
                <a:latin typeface="Verlag Book" pitchFamily="2" charset="0"/>
              </a:rPr>
              <a:t>Rank of the percent of firms surviving one year after founding</a:t>
            </a:r>
          </a:p>
        </p:txBody>
      </p:sp>
      <p:sp>
        <p:nvSpPr>
          <p:cNvPr id="5" name="Slide Number Placeholder 4">
            <a:extLst>
              <a:ext uri="{FF2B5EF4-FFF2-40B4-BE49-F238E27FC236}">
                <a16:creationId xmlns:a16="http://schemas.microsoft.com/office/drawing/2014/main" id="{54952ADA-E738-4AFC-807B-D7C88E1A0B26}"/>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5</a:t>
            </a:fld>
            <a:endParaRPr lang="en-US" sz="900" b="1" dirty="0">
              <a:solidFill>
                <a:schemeClr val="accent1"/>
              </a:solidFill>
              <a:latin typeface="Verlag Bold" pitchFamily="2" charset="0"/>
            </a:endParaRPr>
          </a:p>
        </p:txBody>
      </p:sp>
      <p:sp>
        <p:nvSpPr>
          <p:cNvPr id="16" name="TextBox 15">
            <a:extLst>
              <a:ext uri="{FF2B5EF4-FFF2-40B4-BE49-F238E27FC236}">
                <a16:creationId xmlns:a16="http://schemas.microsoft.com/office/drawing/2014/main" id="{A3B4B6E6-F4FA-BF5A-07D5-4FD055344572}"/>
              </a:ext>
            </a:extLst>
          </p:cNvPr>
          <p:cNvSpPr txBox="1"/>
          <p:nvPr/>
        </p:nvSpPr>
        <p:spPr>
          <a:xfrm>
            <a:off x="509641" y="1261363"/>
            <a:ext cx="3265317" cy="399750"/>
          </a:xfrm>
          <a:prstGeom prst="rect">
            <a:avLst/>
          </a:prstGeom>
          <a:blipFill dpi="0" rotWithShape="1">
            <a:blip r:embed="rId8"/>
            <a:srcRect/>
            <a:tile tx="0" ty="0" sx="100000" sy="100000" flip="xy" algn="b"/>
          </a:blipFill>
          <a:effectLst/>
        </p:spPr>
        <p:txBody>
          <a:bodyPr vert="horz" wrap="none" lIns="0" tIns="0" rIns="0" bIns="54000" rtlCol="0" anchor="b">
            <a:spAutoFit/>
          </a:bodyPr>
          <a:lstStyle>
            <a:defPPr>
              <a:defRPr lang="en-US"/>
            </a:defPPr>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r>
              <a:rPr lang="en-US" dirty="0">
                <a:latin typeface="Verlag Book" pitchFamily="2" charset="0"/>
              </a:rPr>
              <a:t>Early-stage entrepreneurship indicators by state (ranks)</a:t>
            </a:r>
          </a:p>
          <a:p>
            <a:r>
              <a:rPr lang="en-US" b="0" dirty="0">
                <a:latin typeface="Verlag Book" pitchFamily="2" charset="0"/>
              </a:rPr>
              <a:t>2021</a:t>
            </a:r>
          </a:p>
        </p:txBody>
      </p:sp>
    </p:spTree>
    <p:extLst>
      <p:ext uri="{BB962C8B-B14F-4D97-AF65-F5344CB8AC3E}">
        <p14:creationId xmlns:p14="http://schemas.microsoft.com/office/powerpoint/2010/main" val="1386922653"/>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939636" y="2780146"/>
            <a:ext cx="4833449" cy="1185452"/>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Thank you!</a:t>
            </a:r>
          </a:p>
          <a:p>
            <a:pPr>
              <a:lnSpc>
                <a:spcPct val="100000"/>
              </a:lnSpc>
            </a:pPr>
            <a:r>
              <a:rPr lang="en-US" sz="3600" cap="none" dirty="0">
                <a:solidFill>
                  <a:schemeClr val="bg1"/>
                </a:solidFill>
                <a:latin typeface="Verlag Bold" pitchFamily="2" charset="0"/>
              </a:rPr>
              <a:t>Questions?</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E5F47DA8-4ADC-32EF-4827-FCFBCD51CC9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6</a:t>
            </a:fld>
            <a:endParaRPr lang="en-US" dirty="0">
              <a:latin typeface="Verlag Bold" pitchFamily="2" charset="0"/>
            </a:endParaRPr>
          </a:p>
        </p:txBody>
      </p:sp>
      <p:cxnSp>
        <p:nvCxnSpPr>
          <p:cNvPr id="6" name="Straight Connector 5">
            <a:extLst>
              <a:ext uri="{FF2B5EF4-FFF2-40B4-BE49-F238E27FC236}">
                <a16:creationId xmlns:a16="http://schemas.microsoft.com/office/drawing/2014/main" id="{850564CB-1D2B-934D-6BF6-EC4E611E1A8C}"/>
              </a:ext>
            </a:extLst>
          </p:cNvPr>
          <p:cNvCxnSpPr>
            <a:cxnSpLocks/>
          </p:cNvCxnSpPr>
          <p:nvPr/>
        </p:nvCxnSpPr>
        <p:spPr>
          <a:xfrm flipV="1">
            <a:off x="1939636" y="3965597"/>
            <a:ext cx="5080289"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2402027"/>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080654" y="2913206"/>
            <a:ext cx="5692431"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Appendix</a:t>
            </a:r>
          </a:p>
        </p:txBody>
      </p:sp>
      <p:sp>
        <p:nvSpPr>
          <p:cNvPr id="3" name="Slide Number Placeholder 4">
            <a:extLst>
              <a:ext uri="{FF2B5EF4-FFF2-40B4-BE49-F238E27FC236}">
                <a16:creationId xmlns:a16="http://schemas.microsoft.com/office/drawing/2014/main" id="{E5F47DA8-4ADC-32EF-4827-FCFBCD51CC9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7</a:t>
            </a:fld>
            <a:endParaRPr lang="en-US" dirty="0">
              <a:latin typeface="Verlag Bold" pitchFamily="2" charset="0"/>
            </a:endParaRPr>
          </a:p>
        </p:txBody>
      </p:sp>
      <p:cxnSp>
        <p:nvCxnSpPr>
          <p:cNvPr id="6" name="Straight Connector 5">
            <a:extLst>
              <a:ext uri="{FF2B5EF4-FFF2-40B4-BE49-F238E27FC236}">
                <a16:creationId xmlns:a16="http://schemas.microsoft.com/office/drawing/2014/main" id="{850564CB-1D2B-934D-6BF6-EC4E611E1A8C}"/>
              </a:ext>
            </a:extLst>
          </p:cNvPr>
          <p:cNvCxnSpPr>
            <a:cxnSpLocks/>
          </p:cNvCxnSpPr>
          <p:nvPr/>
        </p:nvCxnSpPr>
        <p:spPr>
          <a:xfrm flipV="1">
            <a:off x="1080654" y="3646621"/>
            <a:ext cx="5939271" cy="256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646361"/>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080654" y="2913206"/>
            <a:ext cx="5692431"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Appendix:</a:t>
            </a:r>
          </a:p>
          <a:p>
            <a:pPr>
              <a:lnSpc>
                <a:spcPct val="100000"/>
              </a:lnSpc>
            </a:pPr>
            <a:r>
              <a:rPr lang="en-US" sz="3600" cap="none" dirty="0">
                <a:solidFill>
                  <a:schemeClr val="bg1"/>
                </a:solidFill>
                <a:latin typeface="Verlag Bold" pitchFamily="2" charset="0"/>
              </a:rPr>
              <a:t>Additional Initiatives</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E5F47DA8-4ADC-32EF-4827-FCFBCD51CC9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8</a:t>
            </a:fld>
            <a:endParaRPr lang="en-US" dirty="0">
              <a:latin typeface="Verlag Bold" pitchFamily="2" charset="0"/>
            </a:endParaRPr>
          </a:p>
        </p:txBody>
      </p:sp>
      <p:cxnSp>
        <p:nvCxnSpPr>
          <p:cNvPr id="6" name="Straight Connector 5">
            <a:extLst>
              <a:ext uri="{FF2B5EF4-FFF2-40B4-BE49-F238E27FC236}">
                <a16:creationId xmlns:a16="http://schemas.microsoft.com/office/drawing/2014/main" id="{850564CB-1D2B-934D-6BF6-EC4E611E1A8C}"/>
              </a:ext>
            </a:extLst>
          </p:cNvPr>
          <p:cNvCxnSpPr>
            <a:cxnSpLocks/>
          </p:cNvCxnSpPr>
          <p:nvPr/>
        </p:nvCxnSpPr>
        <p:spPr>
          <a:xfrm flipV="1">
            <a:off x="1080654" y="3965597"/>
            <a:ext cx="5939271" cy="256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257791"/>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FF9E3F-C324-45DE-87F2-99549FA114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4CFF9E3F-C324-45DE-87F2-99549FA114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EF5B551-3BE1-4B9C-8E49-8582FF788A9F}"/>
              </a:ext>
            </a:extLst>
          </p:cNvPr>
          <p:cNvSpPr>
            <a:spLocks noGrp="1"/>
          </p:cNvSpPr>
          <p:nvPr>
            <p:ph sz="quarter" idx="200"/>
          </p:nvPr>
        </p:nvSpPr>
        <p:spPr>
          <a:xfrm>
            <a:off x="431799" y="1233489"/>
            <a:ext cx="8358239" cy="4932362"/>
          </a:xfrm>
        </p:spPr>
        <p:txBody>
          <a:bodyPr vert="horz" lIns="0" tIns="0" rIns="0" bIns="0" rtlCol="0" anchor="t">
            <a:noAutofit/>
          </a:bodyPr>
          <a:lstStyle/>
          <a:p>
            <a:r>
              <a:rPr lang="en-US" sz="1500" dirty="0">
                <a:latin typeface="Verlag Book" pitchFamily="2" charset="0"/>
              </a:rPr>
              <a:t>The Comprehensive Economic Development Policy consists of the following primary components:</a:t>
            </a:r>
          </a:p>
          <a:p>
            <a:pPr lvl="2"/>
            <a:r>
              <a:rPr lang="en-US" sz="1500" dirty="0"/>
              <a:t>Four overarching goals </a:t>
            </a:r>
          </a:p>
          <a:p>
            <a:pPr lvl="2"/>
            <a:r>
              <a:rPr lang="en-US" sz="1500" dirty="0"/>
              <a:t>Six strategic focus areas</a:t>
            </a:r>
          </a:p>
          <a:p>
            <a:pPr lvl="2"/>
            <a:r>
              <a:rPr lang="en-US" sz="1500" dirty="0"/>
              <a:t>Supporting initiatives for each strategic focus area</a:t>
            </a:r>
          </a:p>
          <a:p>
            <a:pPr marL="550545" lvl="3" indent="-266065"/>
            <a:r>
              <a:rPr lang="en-US" sz="1500" dirty="0"/>
              <a:t>Leveraging key assets and building on progress to-date to address challenges within each focus area</a:t>
            </a:r>
            <a:endParaRPr lang="en-US" sz="1500" dirty="0">
              <a:cs typeface="Arial" panose="020B0604020202020204"/>
            </a:endParaRPr>
          </a:p>
          <a:p>
            <a:pPr lvl="1"/>
            <a:endParaRPr lang="en-US" sz="600" u="sng" dirty="0">
              <a:highlight>
                <a:srgbClr val="FFFF00"/>
              </a:highlight>
            </a:endParaRPr>
          </a:p>
          <a:p>
            <a:r>
              <a:rPr lang="en-US" sz="1500" dirty="0">
                <a:latin typeface="Verlag Book" pitchFamily="2" charset="0"/>
              </a:rPr>
              <a:t>Overarching Goals </a:t>
            </a:r>
            <a:endParaRPr lang="en-US" sz="1500" dirty="0">
              <a:latin typeface="Verlag Book" pitchFamily="2" charset="0"/>
              <a:cs typeface="Arial"/>
            </a:endParaRPr>
          </a:p>
          <a:p>
            <a:pPr lvl="2"/>
            <a:r>
              <a:rPr lang="en-US" sz="1500" dirty="0"/>
              <a:t>Drive job growth and labor participation</a:t>
            </a:r>
          </a:p>
          <a:p>
            <a:pPr lvl="2"/>
            <a:r>
              <a:rPr lang="en-US" sz="1500" dirty="0"/>
              <a:t>Reverse Virginia’s years-long trend of out-migration</a:t>
            </a:r>
          </a:p>
          <a:p>
            <a:pPr lvl="2"/>
            <a:r>
              <a:rPr lang="en-US" sz="1500" dirty="0"/>
              <a:t>Enhance Virginia’s economic competitiveness with key competitor states</a:t>
            </a:r>
          </a:p>
          <a:p>
            <a:pPr lvl="2"/>
            <a:r>
              <a:rPr lang="en-US" sz="1500" dirty="0"/>
              <a:t>Expand Virginia’s entrepreneurial ecosystem to spur startup and new business formation</a:t>
            </a:r>
          </a:p>
          <a:p>
            <a:pPr lvl="2"/>
            <a:endParaRPr lang="en-US" sz="600" dirty="0"/>
          </a:p>
          <a:p>
            <a:r>
              <a:rPr lang="en-US" sz="1500" dirty="0">
                <a:latin typeface="Verlag Book" pitchFamily="2" charset="0"/>
              </a:rPr>
              <a:t>Virginia will undertake initiatives in six Strategic Focus Areas to achieve the Overarching Goals</a:t>
            </a:r>
            <a:endParaRPr lang="en-US" sz="1500" dirty="0">
              <a:latin typeface="Verlag Book" pitchFamily="2" charset="0"/>
              <a:cs typeface="Arial"/>
            </a:endParaRPr>
          </a:p>
          <a:p>
            <a:pPr lvl="2"/>
            <a:r>
              <a:rPr lang="en-US" sz="1500" dirty="0"/>
              <a:t>Accelerate Support for Target Industries &amp; </a:t>
            </a:r>
          </a:p>
          <a:p>
            <a:pPr marL="284100" lvl="3" indent="0">
              <a:buNone/>
            </a:pPr>
            <a:r>
              <a:rPr lang="en-US" sz="1500" dirty="0"/>
              <a:t>New Sectors</a:t>
            </a:r>
          </a:p>
          <a:p>
            <a:pPr lvl="2"/>
            <a:r>
              <a:rPr lang="en-US" sz="1500" dirty="0"/>
              <a:t>Unleash a Talented Workforce: </a:t>
            </a:r>
          </a:p>
          <a:p>
            <a:pPr lvl="3"/>
            <a:r>
              <a:rPr lang="en-US" sz="1500" dirty="0"/>
              <a:t>Workforce Development &amp; Growth</a:t>
            </a:r>
          </a:p>
          <a:p>
            <a:pPr lvl="2"/>
            <a:r>
              <a:rPr lang="en-US" sz="1500" dirty="0"/>
              <a:t>Accelerate Site &amp; Infrastructure Development:</a:t>
            </a:r>
          </a:p>
          <a:p>
            <a:pPr marL="550545" lvl="3" indent="-266065"/>
            <a:r>
              <a:rPr lang="en-US" sz="1500" dirty="0"/>
              <a:t>Site Development</a:t>
            </a:r>
          </a:p>
          <a:p>
            <a:pPr marL="550545" lvl="3" indent="-266065"/>
            <a:r>
              <a:rPr lang="en-US" sz="1500" dirty="0"/>
              <a:t>Transportation</a:t>
            </a:r>
            <a:endParaRPr lang="en-US" sz="1500" dirty="0">
              <a:cs typeface="Arial" panose="020B0604020202020204"/>
            </a:endParaRPr>
          </a:p>
          <a:p>
            <a:pPr marL="550545" lvl="3" indent="-266065"/>
            <a:r>
              <a:rPr lang="en-US" sz="1500" dirty="0"/>
              <a:t>Broadband</a:t>
            </a:r>
            <a:endParaRPr lang="en-US" sz="1500" dirty="0">
              <a:cs typeface="Arial" panose="020B0604020202020204"/>
            </a:endParaRPr>
          </a:p>
          <a:p>
            <a:pPr marL="550545" lvl="3" indent="-266065"/>
            <a:r>
              <a:rPr lang="en-US" sz="1500" dirty="0"/>
              <a:t>Energy</a:t>
            </a:r>
            <a:endParaRPr lang="en-US" sz="1500" dirty="0">
              <a:cs typeface="Arial" panose="020B0604020202020204"/>
            </a:endParaRPr>
          </a:p>
          <a:p>
            <a:pPr lvl="1"/>
            <a:endParaRPr lang="en-US" sz="1500" u="sng" dirty="0"/>
          </a:p>
        </p:txBody>
      </p:sp>
      <p:sp>
        <p:nvSpPr>
          <p:cNvPr id="3" name="Title 2">
            <a:extLst>
              <a:ext uri="{FF2B5EF4-FFF2-40B4-BE49-F238E27FC236}">
                <a16:creationId xmlns:a16="http://schemas.microsoft.com/office/drawing/2014/main" id="{F809CFDF-7E64-4D21-A0D1-934115CF3021}"/>
              </a:ext>
            </a:extLst>
          </p:cNvPr>
          <p:cNvSpPr>
            <a:spLocks noGrp="1"/>
          </p:cNvSpPr>
          <p:nvPr>
            <p:ph type="title"/>
          </p:nvPr>
        </p:nvSpPr>
        <p:spPr/>
        <p:txBody>
          <a:bodyPr vert="horz"/>
          <a:lstStyle/>
          <a:p>
            <a:r>
              <a:rPr lang="en-US" dirty="0">
                <a:ea typeface="+mj-lt"/>
                <a:cs typeface="+mj-lt"/>
              </a:rPr>
              <a:t>Governor’s economic development policy Executive Summary (2/2)</a:t>
            </a:r>
            <a:endParaRPr lang="en-US" dirty="0"/>
          </a:p>
        </p:txBody>
      </p:sp>
      <p:sp>
        <p:nvSpPr>
          <p:cNvPr id="5" name="Slide Number Placeholder 4">
            <a:extLst>
              <a:ext uri="{FF2B5EF4-FFF2-40B4-BE49-F238E27FC236}">
                <a16:creationId xmlns:a16="http://schemas.microsoft.com/office/drawing/2014/main" id="{F55CACB5-3DA5-4E10-A7EA-F4CA7C180120}"/>
              </a:ext>
            </a:extLst>
          </p:cNvPr>
          <p:cNvSpPr>
            <a:spLocks noGrp="1"/>
          </p:cNvSpPr>
          <p:nvPr>
            <p:ph type="sldNum" sz="quarter" idx="107"/>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a:t>
            </a:fld>
            <a:endParaRPr lang="en-US" sz="900" b="1" dirty="0">
              <a:solidFill>
                <a:schemeClr val="accent1"/>
              </a:solidFill>
              <a:latin typeface="Verlag Bold" pitchFamily="2" charset="0"/>
            </a:endParaRPr>
          </a:p>
        </p:txBody>
      </p:sp>
      <p:sp>
        <p:nvSpPr>
          <p:cNvPr id="4" name="Content Placeholder 1">
            <a:extLst>
              <a:ext uri="{FF2B5EF4-FFF2-40B4-BE49-F238E27FC236}">
                <a16:creationId xmlns:a16="http://schemas.microsoft.com/office/drawing/2014/main" id="{FDAB3763-2778-18E4-AA37-7002C60AE8BF}"/>
              </a:ext>
            </a:extLst>
          </p:cNvPr>
          <p:cNvSpPr txBox="1">
            <a:spLocks/>
          </p:cNvSpPr>
          <p:nvPr/>
        </p:nvSpPr>
        <p:spPr>
          <a:xfrm>
            <a:off x="4457045" y="4339685"/>
            <a:ext cx="3793447" cy="1493072"/>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lang="en-US"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lang="en-US"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lang="en-US"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lang="en-US" sz="1400" kern="1200" dirty="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pPr lvl="2"/>
            <a:r>
              <a:rPr lang="en-US" sz="1500" dirty="0">
                <a:latin typeface="Verlag Book" pitchFamily="2" charset="0"/>
              </a:rPr>
              <a:t>Make Virginia More Affordable:</a:t>
            </a:r>
          </a:p>
          <a:p>
            <a:pPr lvl="3"/>
            <a:r>
              <a:rPr lang="en-US" sz="1500" dirty="0">
                <a:latin typeface="Verlag Book" pitchFamily="2" charset="0"/>
              </a:rPr>
              <a:t> Housing &amp; Cost of Living </a:t>
            </a:r>
          </a:p>
          <a:p>
            <a:pPr lvl="2"/>
            <a:r>
              <a:rPr lang="en-US" sz="1500" dirty="0">
                <a:latin typeface="Verlag Book" pitchFamily="2" charset="0"/>
              </a:rPr>
              <a:t>Break Down Barriers:</a:t>
            </a:r>
          </a:p>
          <a:p>
            <a:pPr lvl="3"/>
            <a:r>
              <a:rPr lang="en-US" sz="1500" dirty="0">
                <a:latin typeface="Verlag Book" pitchFamily="2" charset="0"/>
              </a:rPr>
              <a:t>Cost and Ease of Doing Business </a:t>
            </a:r>
          </a:p>
          <a:p>
            <a:pPr lvl="2"/>
            <a:r>
              <a:rPr lang="en-US" sz="1500" dirty="0">
                <a:latin typeface="Verlag Book" pitchFamily="2" charset="0"/>
              </a:rPr>
              <a:t>Drive Innovation:</a:t>
            </a:r>
          </a:p>
          <a:p>
            <a:pPr lvl="3"/>
            <a:r>
              <a:rPr lang="en-US" sz="1500" dirty="0">
                <a:latin typeface="Verlag Book" pitchFamily="2" charset="0"/>
              </a:rPr>
              <a:t>Entrepreneurship and Small Businesses</a:t>
            </a:r>
          </a:p>
        </p:txBody>
      </p:sp>
    </p:spTree>
    <p:extLst>
      <p:ext uri="{BB962C8B-B14F-4D97-AF65-F5344CB8AC3E}">
        <p14:creationId xmlns:p14="http://schemas.microsoft.com/office/powerpoint/2010/main" val="13010174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341408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1800" y="1195525"/>
            <a:ext cx="8280400" cy="6072650"/>
          </a:xfrm>
        </p:spPr>
        <p:txBody>
          <a:bodyPr vert="horz" lIns="0" tIns="0" rIns="0" bIns="0" rtlCol="0" anchor="t">
            <a:noAutofit/>
          </a:bodyPr>
          <a:lstStyle/>
          <a:p>
            <a:pPr marL="0" lvl="2" indent="0">
              <a:buNone/>
            </a:pPr>
            <a:r>
              <a:rPr lang="en-US" sz="1500" b="1" dirty="0">
                <a:solidFill>
                  <a:schemeClr val="accent1"/>
                </a:solidFill>
              </a:rPr>
              <a:t>Focus Area Summary</a:t>
            </a:r>
          </a:p>
          <a:p>
            <a:pPr lvl="2"/>
            <a:r>
              <a:rPr lang="en-US" sz="1500" dirty="0"/>
              <a:t>Develop the sites and utilities to meet market demand, streamline Virginia’s permitting processes to increase speed to market, and proactively invest in the necessary infrastructure to support growth</a:t>
            </a:r>
          </a:p>
          <a:p>
            <a:pPr marL="0" lvl="2" indent="0">
              <a:buNone/>
            </a:pPr>
            <a:endParaRPr lang="en-US" sz="600" b="1" dirty="0">
              <a:solidFill>
                <a:schemeClr val="accent1"/>
              </a:solidFill>
            </a:endParaRPr>
          </a:p>
          <a:p>
            <a:pPr marL="0" lvl="2" indent="0">
              <a:buNone/>
            </a:pPr>
            <a:r>
              <a:rPr lang="en-US" sz="1500" b="1" dirty="0">
                <a:solidFill>
                  <a:schemeClr val="accent1"/>
                </a:solidFill>
              </a:rPr>
              <a:t>Key issues</a:t>
            </a:r>
          </a:p>
          <a:p>
            <a:pPr lvl="2"/>
            <a:r>
              <a:rPr lang="en-US" sz="1500" dirty="0"/>
              <a:t>Transportation </a:t>
            </a:r>
          </a:p>
          <a:p>
            <a:pPr lvl="3"/>
            <a:r>
              <a:rPr lang="en-US" sz="1500" dirty="0"/>
              <a:t>Virginia’s transportation infrastructure funding system relies on a reactive approach, creating hurdles to Virginia’s ability to meet the needs of economic development projects quickly</a:t>
            </a:r>
          </a:p>
          <a:p>
            <a:pPr lvl="3"/>
            <a:r>
              <a:rPr lang="en-US" sz="1500" dirty="0"/>
              <a:t>Road and air infrastructure limitations present challenges to moving people and goods efficiently throughout Virginia</a:t>
            </a:r>
          </a:p>
          <a:p>
            <a:pPr lvl="2"/>
            <a:r>
              <a:rPr lang="en-US" sz="1500" dirty="0"/>
              <a:t>Broadband</a:t>
            </a:r>
          </a:p>
          <a:p>
            <a:pPr lvl="3"/>
            <a:r>
              <a:rPr lang="en-US" sz="1500" dirty="0"/>
              <a:t>Large swaths of Virginia lack access to broadband, impeding economic development opportunities for rural communities and preventing citizens from participating in the digital economy</a:t>
            </a:r>
          </a:p>
          <a:p>
            <a:pPr lvl="3"/>
            <a:r>
              <a:rPr lang="en-US" sz="1500" dirty="0"/>
              <a:t>A shortage of workers needed to fulfill broadband deployment threatens to hinder Virginia’s momentum in expanding broadband access</a:t>
            </a:r>
            <a:endParaRPr lang="en-US" dirty="0">
              <a:cs typeface="Arial" panose="020B0604020202020204"/>
            </a:endParaRPr>
          </a:p>
        </p:txBody>
      </p:sp>
      <p:sp>
        <p:nvSpPr>
          <p:cNvPr id="3" name="Title 2">
            <a:extLst>
              <a:ext uri="{FF2B5EF4-FFF2-40B4-BE49-F238E27FC236}">
                <a16:creationId xmlns:a16="http://schemas.microsoft.com/office/drawing/2014/main" id="{D2C3D60C-DE1C-0DF0-7EF7-0069ABF6B7EB}"/>
              </a:ext>
            </a:extLst>
          </p:cNvPr>
          <p:cNvSpPr>
            <a:spLocks noGrp="1"/>
          </p:cNvSpPr>
          <p:nvPr>
            <p:ph type="title"/>
          </p:nvPr>
        </p:nvSpPr>
        <p:spPr>
          <a:xfrm>
            <a:off x="431800" y="287079"/>
            <a:ext cx="8280400" cy="567394"/>
          </a:xfrm>
        </p:spPr>
        <p:txBody>
          <a:bodyPr vert="horz"/>
          <a:lstStyle/>
          <a:p>
            <a:r>
              <a:rPr lang="en-US" dirty="0"/>
              <a:t>ACCELERATE SITE &amp; INFRASTRUCTURE DEVELOPMENT (1/2)</a:t>
            </a:r>
            <a:endParaRPr lang="en-US" dirty="0">
              <a:highlight>
                <a:srgbClr val="FFFF00"/>
              </a:highlight>
            </a:endParaRP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29</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6944350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F669542-599B-704E-D515-E0469F4E210C}"/>
              </a:ext>
            </a:extLst>
          </p:cNvPr>
          <p:cNvGraphicFramePr>
            <a:graphicFrameLocks noChangeAspect="1"/>
          </p:cNvGraphicFramePr>
          <p:nvPr>
            <p:custDataLst>
              <p:tags r:id="rId1"/>
            </p:custDataLst>
            <p:extLst>
              <p:ext uri="{D42A27DB-BD31-4B8C-83A1-F6EECF244321}">
                <p14:modId xmlns:p14="http://schemas.microsoft.com/office/powerpoint/2010/main" val="422254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CF669542-599B-704E-D515-E0469F4E2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B7F8B9B-F682-88AB-41EF-2B2E86DCABEA}"/>
              </a:ext>
            </a:extLst>
          </p:cNvPr>
          <p:cNvSpPr>
            <a:spLocks noGrp="1"/>
          </p:cNvSpPr>
          <p:nvPr>
            <p:ph sz="quarter" idx="200"/>
          </p:nvPr>
        </p:nvSpPr>
        <p:spPr>
          <a:xfrm>
            <a:off x="431800" y="1255111"/>
            <a:ext cx="8280400" cy="6162205"/>
          </a:xfrm>
        </p:spPr>
        <p:txBody>
          <a:bodyPr vert="horz" lIns="0" tIns="0" rIns="0" bIns="0" rtlCol="0" anchor="t">
            <a:noAutofit/>
          </a:bodyPr>
          <a:lstStyle/>
          <a:p>
            <a:pPr marL="0" lvl="2" indent="0">
              <a:buNone/>
            </a:pPr>
            <a:r>
              <a:rPr lang="en-US" sz="1500" b="1" dirty="0">
                <a:solidFill>
                  <a:schemeClr val="accent1"/>
                </a:solidFill>
              </a:rPr>
              <a:t>Initiatives</a:t>
            </a:r>
          </a:p>
          <a:p>
            <a:pPr lvl="2"/>
            <a:r>
              <a:rPr lang="en-US" sz="1500" dirty="0">
                <a:cs typeface="Arial" panose="020B0604020202020204"/>
              </a:rPr>
              <a:t>Transportation </a:t>
            </a:r>
          </a:p>
          <a:p>
            <a:pPr lvl="3"/>
            <a:r>
              <a:rPr lang="en-US" sz="1500" dirty="0">
                <a:cs typeface="Arial" panose="020B0604020202020204"/>
              </a:rPr>
              <a:t>Create a new fund to accelerate delivery of infrastructure projects to support economic development</a:t>
            </a:r>
          </a:p>
          <a:p>
            <a:pPr lvl="3"/>
            <a:r>
              <a:rPr lang="en-US" sz="1500" dirty="0">
                <a:cs typeface="Arial" panose="020B0604020202020204"/>
              </a:rPr>
              <a:t>Explore alternative project delivery mechanisms to expedite improvements on I-81</a:t>
            </a:r>
          </a:p>
          <a:p>
            <a:pPr lvl="3"/>
            <a:r>
              <a:rPr lang="en-US" sz="1500" dirty="0">
                <a:cs typeface="Arial" panose="020B0604020202020204"/>
              </a:rPr>
              <a:t>Leverage Virginia’s world-class port infrastructure, access to global markets, and supply chain connectivity to attract businesses to the Commonwealth</a:t>
            </a:r>
          </a:p>
          <a:p>
            <a:pPr lvl="3"/>
            <a:r>
              <a:rPr lang="en-US" sz="1500" dirty="0">
                <a:cs typeface="Arial" panose="020B0604020202020204"/>
              </a:rPr>
              <a:t>Continue to explore the feasibility of additional inland ports</a:t>
            </a:r>
          </a:p>
          <a:p>
            <a:pPr lvl="3"/>
            <a:r>
              <a:rPr lang="en-US" sz="1500" dirty="0">
                <a:cs typeface="Arial" panose="020B0604020202020204"/>
              </a:rPr>
              <a:t>Enhance funding for the New Air Service Incentive Fund to expand air transportation options in Virginia through the attraction of new carriers and routes</a:t>
            </a:r>
          </a:p>
          <a:p>
            <a:pPr lvl="3"/>
            <a:r>
              <a:rPr lang="en-US" sz="1500" dirty="0">
                <a:cs typeface="Arial" panose="020B0604020202020204"/>
              </a:rPr>
              <a:t>Prepare infrastructure at Wallops Island, including road, power, broadband, and natural gas to generate growth in space-related industries</a:t>
            </a:r>
          </a:p>
          <a:p>
            <a:pPr lvl="2"/>
            <a:r>
              <a:rPr lang="en-US" sz="1500" dirty="0">
                <a:cs typeface="Arial" panose="020B0604020202020204"/>
              </a:rPr>
              <a:t>Broadband </a:t>
            </a:r>
          </a:p>
          <a:p>
            <a:pPr lvl="3"/>
            <a:r>
              <a:rPr lang="en-US" sz="1500" dirty="0">
                <a:cs typeface="Arial" panose="020B0604020202020204"/>
              </a:rPr>
              <a:t>Leverage public-private partnerships and federal resources to expand broadband infrastructure, allowing all residents of the Commonwealth to participate in the digital economy and providing business-grade internet for economic development project readiness</a:t>
            </a:r>
          </a:p>
          <a:p>
            <a:pPr lvl="3"/>
            <a:r>
              <a:rPr lang="en-US" sz="1500" dirty="0">
                <a:cs typeface="Arial" panose="020B0604020202020204"/>
              </a:rPr>
              <a:t>Utilize the Broadband Equity, Access, and Deployment (BEAD) program and other federal funding to close the state’s digital divide by achieving universal broadband access and begin to address barriers to broadband affordability and adoption</a:t>
            </a:r>
          </a:p>
          <a:p>
            <a:pPr lvl="3"/>
            <a:r>
              <a:rPr lang="en-US" sz="1500" dirty="0">
                <a:cs typeface="Arial" panose="020B0604020202020204"/>
              </a:rPr>
              <a:t>Continue to support the Virginia Telecommunication Initiative (VATI) and support broadband workforce training programs to ease labor shortages that might hinder broadband expansion in Virginia</a:t>
            </a:r>
          </a:p>
          <a:p>
            <a:pPr marL="0" lvl="2" indent="0">
              <a:buNone/>
            </a:pPr>
            <a:endParaRPr lang="en-US" sz="1500" dirty="0">
              <a:cs typeface="Arial" panose="020B0604020202020204"/>
            </a:endParaRPr>
          </a:p>
          <a:p>
            <a:pPr lvl="3"/>
            <a:endParaRPr lang="en-US" sz="1500" dirty="0">
              <a:cs typeface="Arial" panose="020B0604020202020204"/>
            </a:endParaRPr>
          </a:p>
          <a:p>
            <a:pPr lvl="3"/>
            <a:endParaRPr lang="en-US" sz="1500" dirty="0">
              <a:cs typeface="Arial" panose="020B0604020202020204"/>
            </a:endParaRPr>
          </a:p>
        </p:txBody>
      </p:sp>
      <p:sp>
        <p:nvSpPr>
          <p:cNvPr id="3" name="Title 2">
            <a:extLst>
              <a:ext uri="{FF2B5EF4-FFF2-40B4-BE49-F238E27FC236}">
                <a16:creationId xmlns:a16="http://schemas.microsoft.com/office/drawing/2014/main" id="{D2C3D60C-DE1C-0DF0-7EF7-0069ABF6B7EB}"/>
              </a:ext>
            </a:extLst>
          </p:cNvPr>
          <p:cNvSpPr>
            <a:spLocks noGrp="1"/>
          </p:cNvSpPr>
          <p:nvPr>
            <p:ph type="title"/>
          </p:nvPr>
        </p:nvSpPr>
        <p:spPr>
          <a:xfrm>
            <a:off x="431800" y="421093"/>
            <a:ext cx="8280400" cy="567394"/>
          </a:xfrm>
        </p:spPr>
        <p:txBody>
          <a:bodyPr vert="horz"/>
          <a:lstStyle/>
          <a:p>
            <a:r>
              <a:rPr lang="en-US" dirty="0"/>
              <a:t>ACCELERATE SITE &amp; INFRASTRUCTURE DEVELOPMENT (2/2)</a:t>
            </a:r>
            <a:endParaRPr lang="en-US" dirty="0">
              <a:highlight>
                <a:srgbClr val="FFFF00"/>
              </a:highlight>
            </a:endParaRPr>
          </a:p>
        </p:txBody>
      </p:sp>
      <p:sp>
        <p:nvSpPr>
          <p:cNvPr id="5" name="Slide Number Placeholder 4">
            <a:extLst>
              <a:ext uri="{FF2B5EF4-FFF2-40B4-BE49-F238E27FC236}">
                <a16:creationId xmlns:a16="http://schemas.microsoft.com/office/drawing/2014/main" id="{00637F8E-9D4E-2CFE-D420-E6641310B98A}"/>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0</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39352114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080654" y="2913206"/>
            <a:ext cx="5692431"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Appendix:</a:t>
            </a:r>
          </a:p>
          <a:p>
            <a:pPr>
              <a:lnSpc>
                <a:spcPct val="100000"/>
              </a:lnSpc>
            </a:pPr>
            <a:r>
              <a:rPr lang="en-US" sz="3600" cap="none" dirty="0">
                <a:solidFill>
                  <a:schemeClr val="bg1"/>
                </a:solidFill>
                <a:latin typeface="Verlag Bold" pitchFamily="2" charset="0"/>
              </a:rPr>
              <a:t>Supporting Charts &amp; Graphics</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E5F47DA8-4ADC-32EF-4827-FCFBCD51CC9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a:latin typeface="Verlag Bold" pitchFamily="2" charset="0"/>
              </a:rPr>
              <a:pPr marL="12700">
                <a:buFont typeface="Arial" panose="020B0604020202020204" pitchFamily="34" charset="0"/>
                <a:buNone/>
              </a:pPr>
              <a:t>31</a:t>
            </a:fld>
            <a:endParaRPr lang="en-US" dirty="0">
              <a:latin typeface="Verlag Bold" pitchFamily="2" charset="0"/>
            </a:endParaRPr>
          </a:p>
        </p:txBody>
      </p:sp>
      <p:cxnSp>
        <p:nvCxnSpPr>
          <p:cNvPr id="6" name="Straight Connector 5">
            <a:extLst>
              <a:ext uri="{FF2B5EF4-FFF2-40B4-BE49-F238E27FC236}">
                <a16:creationId xmlns:a16="http://schemas.microsoft.com/office/drawing/2014/main" id="{850564CB-1D2B-934D-6BF6-EC4E611E1A8C}"/>
              </a:ext>
            </a:extLst>
          </p:cNvPr>
          <p:cNvCxnSpPr>
            <a:cxnSpLocks/>
          </p:cNvCxnSpPr>
          <p:nvPr/>
        </p:nvCxnSpPr>
        <p:spPr>
          <a:xfrm flipV="1">
            <a:off x="1080654" y="3965597"/>
            <a:ext cx="5939271" cy="256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1328446"/>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BF01A9-6FA8-514B-E908-D2602B740E0B}"/>
              </a:ext>
            </a:extLst>
          </p:cNvPr>
          <p:cNvGraphicFramePr>
            <a:graphicFrameLocks noChangeAspect="1"/>
          </p:cNvGraphicFramePr>
          <p:nvPr>
            <p:custDataLst>
              <p:tags r:id="rId2"/>
            </p:custDataLst>
            <p:extLst>
              <p:ext uri="{D42A27DB-BD31-4B8C-83A1-F6EECF244321}">
                <p14:modId xmlns:p14="http://schemas.microsoft.com/office/powerpoint/2010/main" val="3320762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EBBF01A9-6FA8-514B-E908-D2602B740E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Title 1">
            <a:extLst>
              <a:ext uri="{FF2B5EF4-FFF2-40B4-BE49-F238E27FC236}">
                <a16:creationId xmlns:a16="http://schemas.microsoft.com/office/drawing/2014/main" id="{484386E8-48A6-4030-A8D5-7C089E4350F2}"/>
              </a:ext>
            </a:extLst>
          </p:cNvPr>
          <p:cNvSpPr>
            <a:spLocks noGrp="1"/>
          </p:cNvSpPr>
          <p:nvPr>
            <p:ph type="title"/>
          </p:nvPr>
        </p:nvSpPr>
        <p:spPr>
          <a:xfrm>
            <a:off x="393699" y="468758"/>
            <a:ext cx="8521701" cy="567394"/>
          </a:xfrm>
        </p:spPr>
        <p:txBody>
          <a:bodyPr vert="horz"/>
          <a:lstStyle/>
          <a:p>
            <a:r>
              <a:rPr lang="en-US" dirty="0">
                <a:latin typeface="Verlag Bold" pitchFamily="2" charset="0"/>
              </a:rPr>
              <a:t>For over a decade, Virginia's employment growth rate has been  middle-of-the-pack among U.S. States but the Commonwealth is seeing a rebound in 2022</a:t>
            </a:r>
          </a:p>
        </p:txBody>
      </p:sp>
      <p:sp>
        <p:nvSpPr>
          <p:cNvPr id="4" name="Subtitle 3">
            <a:extLst>
              <a:ext uri="{FF2B5EF4-FFF2-40B4-BE49-F238E27FC236}">
                <a16:creationId xmlns:a16="http://schemas.microsoft.com/office/drawing/2014/main" id="{F6E5CF59-3406-4822-8836-62D3A1B2B9F4}"/>
              </a:ext>
            </a:extLst>
          </p:cNvPr>
          <p:cNvSpPr>
            <a:spLocks noGrp="1"/>
          </p:cNvSpPr>
          <p:nvPr>
            <p:ph type="subTitle" sz="quarter" idx="1000"/>
          </p:nvPr>
        </p:nvSpPr>
        <p:spPr>
          <a:xfrm>
            <a:off x="431799" y="6389242"/>
            <a:ext cx="7440613" cy="317040"/>
          </a:xfrm>
        </p:spPr>
        <p:txBody>
          <a:bodyPr/>
          <a:lstStyle/>
          <a:p>
            <a:endParaRPr lang="en-US" dirty="0"/>
          </a:p>
          <a:p>
            <a:endParaRPr lang="en-US" dirty="0"/>
          </a:p>
          <a:p>
            <a:r>
              <a:rPr lang="en-US" dirty="0"/>
              <a:t>Source: Bureau of Labor Statistics, Current Employment Statistics</a:t>
            </a:r>
          </a:p>
        </p:txBody>
      </p:sp>
      <p:sp>
        <p:nvSpPr>
          <p:cNvPr id="26" name="Text Placeholder 4">
            <a:extLst>
              <a:ext uri="{FF2B5EF4-FFF2-40B4-BE49-F238E27FC236}">
                <a16:creationId xmlns:a16="http://schemas.microsoft.com/office/drawing/2014/main" id="{8DC2BF2D-2A5C-41CF-A01F-454727682E36}"/>
              </a:ext>
            </a:extLst>
          </p:cNvPr>
          <p:cNvSpPr>
            <a:spLocks noGrp="1"/>
          </p:cNvSpPr>
          <p:nvPr>
            <p:ph type="body" sz="quarter" idx="108"/>
          </p:nvPr>
        </p:nvSpPr>
        <p:spPr>
          <a:xfrm>
            <a:off x="431800" y="1239775"/>
            <a:ext cx="6408614" cy="399750"/>
          </a:xfrm>
        </p:spPr>
        <p:txBody>
          <a:bodyPr/>
          <a:lstStyle/>
          <a:p>
            <a:pPr lvl="2">
              <a:spcBef>
                <a:spcPts val="100"/>
              </a:spcBef>
              <a:spcAft>
                <a:spcPts val="0"/>
              </a:spcAft>
            </a:pPr>
            <a:r>
              <a:rPr lang="en-US" b="1" dirty="0"/>
              <a:t>Virginia employment growth compared to competitor states</a:t>
            </a:r>
          </a:p>
          <a:p>
            <a:r>
              <a:rPr lang="en-US" b="0" dirty="0"/>
              <a:t>Jan 2011 – Jan 2022 compound annual growth rate (CAGR) &amp; year-to-date (YTD) growth rate </a:t>
            </a:r>
          </a:p>
        </p:txBody>
      </p:sp>
      <p:sp>
        <p:nvSpPr>
          <p:cNvPr id="3" name="Slide Number Placeholder 2">
            <a:extLst>
              <a:ext uri="{FF2B5EF4-FFF2-40B4-BE49-F238E27FC236}">
                <a16:creationId xmlns:a16="http://schemas.microsoft.com/office/drawing/2014/main" id="{29B5CDC5-1424-4C38-8B02-8F278252DE39}"/>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2</a:t>
            </a:fld>
            <a:endParaRPr lang="en-US" sz="900" b="1" dirty="0">
              <a:solidFill>
                <a:schemeClr val="accent1"/>
              </a:solidFill>
              <a:latin typeface="Verlag Bold" pitchFamily="2" charset="0"/>
            </a:endParaRPr>
          </a:p>
        </p:txBody>
      </p:sp>
      <p:graphicFrame>
        <p:nvGraphicFramePr>
          <p:cNvPr id="8" name="Chart 7">
            <a:extLst>
              <a:ext uri="{FF2B5EF4-FFF2-40B4-BE49-F238E27FC236}">
                <a16:creationId xmlns:a16="http://schemas.microsoft.com/office/drawing/2014/main" id="{9166DA0E-38D7-6B50-3A56-887174B2802D}"/>
              </a:ext>
            </a:extLst>
          </p:cNvPr>
          <p:cNvGraphicFramePr/>
          <p:nvPr>
            <p:extLst>
              <p:ext uri="{D42A27DB-BD31-4B8C-83A1-F6EECF244321}">
                <p14:modId xmlns:p14="http://schemas.microsoft.com/office/powerpoint/2010/main" val="3635071984"/>
              </p:ext>
            </p:extLst>
          </p:nvPr>
        </p:nvGraphicFramePr>
        <p:xfrm>
          <a:off x="1044945" y="1757444"/>
          <a:ext cx="7219207" cy="475870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58965548"/>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FD8D94-DA0D-CC58-AC3F-620E024CA2A1}"/>
              </a:ext>
            </a:extLst>
          </p:cNvPr>
          <p:cNvGraphicFramePr>
            <a:graphicFrameLocks noChangeAspect="1"/>
          </p:cNvGraphicFramePr>
          <p:nvPr>
            <p:custDataLst>
              <p:tags r:id="rId1"/>
            </p:custDataLst>
            <p:extLst>
              <p:ext uri="{D42A27DB-BD31-4B8C-83A1-F6EECF244321}">
                <p14:modId xmlns:p14="http://schemas.microsoft.com/office/powerpoint/2010/main" val="226130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85FD8D94-DA0D-CC58-AC3F-620E024CA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58B3A2B-AAD7-BB17-9E7A-EEE42118211C}"/>
              </a:ext>
            </a:extLst>
          </p:cNvPr>
          <p:cNvSpPr>
            <a:spLocks noGrp="1"/>
          </p:cNvSpPr>
          <p:nvPr>
            <p:ph type="title"/>
          </p:nvPr>
        </p:nvSpPr>
        <p:spPr>
          <a:xfrm>
            <a:off x="326059" y="514462"/>
            <a:ext cx="8623710" cy="567394"/>
          </a:xfrm>
        </p:spPr>
        <p:txBody>
          <a:bodyPr vert="horz"/>
          <a:lstStyle/>
          <a:p>
            <a:r>
              <a:rPr lang="en-US" dirty="0">
                <a:latin typeface="Verlag Bold" pitchFamily="2" charset="0"/>
              </a:rPr>
              <a:t>Virginia saw more than 100,000 residents move to competitor states from 2020-2021, many in key demographic segments</a:t>
            </a:r>
            <a:endParaRPr lang="en-US" dirty="0">
              <a:solidFill>
                <a:srgbClr val="B52C19"/>
              </a:solidFill>
              <a:latin typeface="Verlag Bold" pitchFamily="2" charset="0"/>
            </a:endParaRPr>
          </a:p>
        </p:txBody>
      </p:sp>
      <p:sp>
        <p:nvSpPr>
          <p:cNvPr id="2" name="Text Placeholder 4">
            <a:extLst>
              <a:ext uri="{FF2B5EF4-FFF2-40B4-BE49-F238E27FC236}">
                <a16:creationId xmlns:a16="http://schemas.microsoft.com/office/drawing/2014/main" id="{9882A856-476D-0465-A10E-58432032EC0F}"/>
              </a:ext>
            </a:extLst>
          </p:cNvPr>
          <p:cNvSpPr>
            <a:spLocks noGrp="1"/>
          </p:cNvSpPr>
          <p:nvPr>
            <p:ph type="body" sz="quarter" idx="108"/>
          </p:nvPr>
        </p:nvSpPr>
        <p:spPr>
          <a:xfrm>
            <a:off x="436418" y="1408666"/>
            <a:ext cx="3783536" cy="578773"/>
          </a:xfrm>
        </p:spPr>
        <p:txBody>
          <a:bodyPr/>
          <a:lstStyle/>
          <a:p>
            <a:pPr lvl="2">
              <a:spcBef>
                <a:spcPts val="100"/>
              </a:spcBef>
              <a:spcAft>
                <a:spcPts val="0"/>
              </a:spcAft>
            </a:pPr>
            <a:r>
              <a:rPr lang="en-US" b="1" dirty="0"/>
              <a:t>Gross migration from Virginia to competitor states, </a:t>
            </a:r>
          </a:p>
          <a:p>
            <a:pPr lvl="2">
              <a:spcBef>
                <a:spcPts val="100"/>
              </a:spcBef>
              <a:spcAft>
                <a:spcPts val="0"/>
              </a:spcAft>
            </a:pPr>
            <a:r>
              <a:rPr lang="en-US" b="1" dirty="0"/>
              <a:t>including key demographic segments</a:t>
            </a:r>
          </a:p>
          <a:p>
            <a:pPr lvl="2">
              <a:spcBef>
                <a:spcPts val="100"/>
              </a:spcBef>
              <a:spcAft>
                <a:spcPts val="0"/>
              </a:spcAft>
            </a:pPr>
            <a:r>
              <a:rPr lang="en-US" b="0" dirty="0"/>
              <a:t>2020-2021</a:t>
            </a:r>
          </a:p>
        </p:txBody>
      </p:sp>
      <p:sp>
        <p:nvSpPr>
          <p:cNvPr id="17" name="TextBox 16">
            <a:extLst>
              <a:ext uri="{FF2B5EF4-FFF2-40B4-BE49-F238E27FC236}">
                <a16:creationId xmlns:a16="http://schemas.microsoft.com/office/drawing/2014/main" id="{E0220FE4-261F-078A-7648-B4F707899C72}"/>
              </a:ext>
            </a:extLst>
          </p:cNvPr>
          <p:cNvSpPr txBox="1"/>
          <p:nvPr/>
        </p:nvSpPr>
        <p:spPr>
          <a:xfrm>
            <a:off x="919018" y="5535561"/>
            <a:ext cx="7305964" cy="430887"/>
          </a:xfrm>
          <a:prstGeom prst="rect">
            <a:avLst/>
          </a:prstGeom>
        </p:spPr>
        <p:txBody>
          <a:bodyPr vert="horz" wrap="square" lIns="0" tIns="0" rIns="0" bIns="0" rtlCol="0" anchor="t">
            <a:spAutoFit/>
          </a:bodyPr>
          <a:lstStyle/>
          <a:p>
            <a:pPr algn="l"/>
            <a:r>
              <a:rPr lang="en-US" sz="1400" dirty="0">
                <a:latin typeface="Arial" charset="0"/>
                <a:ea typeface="Arial" charset="0"/>
                <a:cs typeface="Arial" charset="0"/>
              </a:rPr>
              <a:t>Source: Census Bureau, American Community Survey, Bureau of Economic Analysis; VEDP analysis</a:t>
            </a:r>
          </a:p>
        </p:txBody>
      </p:sp>
      <p:sp>
        <p:nvSpPr>
          <p:cNvPr id="5" name="Slide Number Placeholder 5">
            <a:extLst>
              <a:ext uri="{FF2B5EF4-FFF2-40B4-BE49-F238E27FC236}">
                <a16:creationId xmlns:a16="http://schemas.microsoft.com/office/drawing/2014/main" id="{BCD64456-65B2-EB1B-A047-236A0E432776}"/>
              </a:ext>
            </a:extLst>
          </p:cNvPr>
          <p:cNvSpPr txBox="1">
            <a:spLocks/>
          </p:cNvSpPr>
          <p:nvPr/>
        </p:nvSpPr>
        <p:spPr>
          <a:xfrm>
            <a:off x="8766796" y="6497676"/>
            <a:ext cx="365947" cy="189452"/>
          </a:xfrm>
          <a:prstGeom prst="rect">
            <a:avLst/>
          </a:prstGeom>
          <a:noFill/>
          <a:ln>
            <a:noFill/>
          </a:ln>
        </p:spPr>
        <p:txBody>
          <a:bodyPr vert="horz" wrap="square" lIns="0" tIns="0" rIns="0" bIns="0" rtlCol="0" anchor="ctr">
            <a:noAutofit/>
          </a:bodyPr>
          <a:lstStyle>
            <a:defPPr>
              <a:defRPr lang="en-US"/>
            </a:defPPr>
            <a:lvl1pPr marL="12700">
              <a:buFont typeface="Arial" panose="020B0604020202020204" pitchFamily="34" charset="0"/>
              <a:buNone/>
              <a:defRPr sz="900" b="1">
                <a:solidFill>
                  <a:schemeClr val="accent1"/>
                </a:solidFill>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fld id="{078C017C-E1B9-8443-B047-B08AAA027B45}" type="slidenum">
              <a:rPr lang="en-US">
                <a:latin typeface="Verlag Bold" pitchFamily="2" charset="0"/>
              </a:rPr>
              <a:pPr/>
              <a:t>33</a:t>
            </a:fld>
            <a:endParaRPr lang="en-US" dirty="0">
              <a:latin typeface="Verlag Bold" pitchFamily="2" charset="0"/>
            </a:endParaRPr>
          </a:p>
        </p:txBody>
      </p:sp>
      <p:pic>
        <p:nvPicPr>
          <p:cNvPr id="10" name="Graphic 9">
            <a:extLst>
              <a:ext uri="{FF2B5EF4-FFF2-40B4-BE49-F238E27FC236}">
                <a16:creationId xmlns:a16="http://schemas.microsoft.com/office/drawing/2014/main" id="{E143605C-405B-2611-6CB6-A4AF2BCA5B5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998" r="-182"/>
          <a:stretch/>
        </p:blipFill>
        <p:spPr bwMode="auto">
          <a:xfrm>
            <a:off x="305437" y="2073665"/>
            <a:ext cx="8116456" cy="271067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470271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BF01A9-6FA8-514B-E908-D2602B740E0B}"/>
              </a:ext>
            </a:extLst>
          </p:cNvPr>
          <p:cNvGraphicFramePr>
            <a:graphicFrameLocks noChangeAspect="1"/>
          </p:cNvGraphicFramePr>
          <p:nvPr>
            <p:custDataLst>
              <p:tags r:id="rId1"/>
            </p:custDataLst>
            <p:extLst>
              <p:ext uri="{D42A27DB-BD31-4B8C-83A1-F6EECF244321}">
                <p14:modId xmlns:p14="http://schemas.microsoft.com/office/powerpoint/2010/main" val="293672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BBF01A9-6FA8-514B-E908-D2602B740E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itle 1">
            <a:extLst>
              <a:ext uri="{FF2B5EF4-FFF2-40B4-BE49-F238E27FC236}">
                <a16:creationId xmlns:a16="http://schemas.microsoft.com/office/drawing/2014/main" id="{484386E8-48A6-4030-A8D5-7C089E4350F2}"/>
              </a:ext>
            </a:extLst>
          </p:cNvPr>
          <p:cNvSpPr>
            <a:spLocks noGrp="1"/>
          </p:cNvSpPr>
          <p:nvPr>
            <p:ph type="title"/>
          </p:nvPr>
        </p:nvSpPr>
        <p:spPr>
          <a:xfrm>
            <a:off x="431799" y="408453"/>
            <a:ext cx="8521701" cy="567394"/>
          </a:xfrm>
        </p:spPr>
        <p:txBody>
          <a:bodyPr vert="horz"/>
          <a:lstStyle/>
          <a:p>
            <a:r>
              <a:rPr lang="en-US" dirty="0">
                <a:latin typeface="Verlag Bold" pitchFamily="2" charset="0"/>
              </a:rPr>
              <a:t>Despite recent progress, Virginia has underperformed during recovery compared with aspirational growth states</a:t>
            </a:r>
          </a:p>
        </p:txBody>
      </p:sp>
      <p:graphicFrame>
        <p:nvGraphicFramePr>
          <p:cNvPr id="25" name="Chart Placeholder 8">
            <a:extLst>
              <a:ext uri="{FF2B5EF4-FFF2-40B4-BE49-F238E27FC236}">
                <a16:creationId xmlns:a16="http://schemas.microsoft.com/office/drawing/2014/main" id="{8AC61B89-3FCB-4B63-A641-CD140DB95AE4}"/>
              </a:ext>
            </a:extLst>
          </p:cNvPr>
          <p:cNvGraphicFramePr>
            <a:graphicFrameLocks noGrp="1"/>
          </p:cNvGraphicFramePr>
          <p:nvPr>
            <p:ph type="chart" sz="quarter" idx="113"/>
            <p:extLst>
              <p:ext uri="{D42A27DB-BD31-4B8C-83A1-F6EECF244321}">
                <p14:modId xmlns:p14="http://schemas.microsoft.com/office/powerpoint/2010/main" val="123493742"/>
              </p:ext>
            </p:extLst>
          </p:nvPr>
        </p:nvGraphicFramePr>
        <p:xfrm>
          <a:off x="431800" y="1735138"/>
          <a:ext cx="8221133" cy="4430712"/>
        </p:xfrm>
        <a:graphic>
          <a:graphicData uri="http://schemas.openxmlformats.org/drawingml/2006/chart">
            <c:chart xmlns:c="http://schemas.openxmlformats.org/drawingml/2006/chart" xmlns:r="http://schemas.openxmlformats.org/officeDocument/2006/relationships" r:id="rId6"/>
          </a:graphicData>
        </a:graphic>
      </p:graphicFrame>
      <p:sp>
        <p:nvSpPr>
          <p:cNvPr id="4" name="Subtitle 3">
            <a:extLst>
              <a:ext uri="{FF2B5EF4-FFF2-40B4-BE49-F238E27FC236}">
                <a16:creationId xmlns:a16="http://schemas.microsoft.com/office/drawing/2014/main" id="{F6E5CF59-3406-4822-8836-62D3A1B2B9F4}"/>
              </a:ext>
            </a:extLst>
          </p:cNvPr>
          <p:cNvSpPr>
            <a:spLocks noGrp="1"/>
          </p:cNvSpPr>
          <p:nvPr>
            <p:ph type="subTitle" sz="quarter" idx="1000"/>
          </p:nvPr>
        </p:nvSpPr>
        <p:spPr>
          <a:xfrm>
            <a:off x="431799" y="6389242"/>
            <a:ext cx="7440613" cy="317040"/>
          </a:xfrm>
        </p:spPr>
        <p:txBody>
          <a:bodyPr/>
          <a:lstStyle/>
          <a:p>
            <a:endParaRPr lang="en-US" dirty="0"/>
          </a:p>
          <a:p>
            <a:endParaRPr lang="en-US" dirty="0"/>
          </a:p>
          <a:p>
            <a:r>
              <a:rPr lang="en-US" dirty="0"/>
              <a:t>Source: Local Area Unemployment Statistics, Bureau of Labor Statistics</a:t>
            </a:r>
          </a:p>
        </p:txBody>
      </p:sp>
      <p:sp>
        <p:nvSpPr>
          <p:cNvPr id="26" name="Text Placeholder 4">
            <a:extLst>
              <a:ext uri="{FF2B5EF4-FFF2-40B4-BE49-F238E27FC236}">
                <a16:creationId xmlns:a16="http://schemas.microsoft.com/office/drawing/2014/main" id="{8DC2BF2D-2A5C-41CF-A01F-454727682E36}"/>
              </a:ext>
            </a:extLst>
          </p:cNvPr>
          <p:cNvSpPr>
            <a:spLocks noGrp="1"/>
          </p:cNvSpPr>
          <p:nvPr>
            <p:ph type="body" sz="quarter" idx="108"/>
          </p:nvPr>
        </p:nvSpPr>
        <p:spPr>
          <a:xfrm>
            <a:off x="431800" y="1239775"/>
            <a:ext cx="5716308" cy="399750"/>
          </a:xfrm>
        </p:spPr>
        <p:txBody>
          <a:bodyPr/>
          <a:lstStyle/>
          <a:p>
            <a:pPr lvl="2">
              <a:spcBef>
                <a:spcPts val="100"/>
              </a:spcBef>
              <a:spcAft>
                <a:spcPts val="0"/>
              </a:spcAft>
            </a:pPr>
            <a:r>
              <a:rPr lang="en-US" b="1" dirty="0"/>
              <a:t>Virginia employment compared to aspirational growth states</a:t>
            </a:r>
          </a:p>
          <a:p>
            <a:r>
              <a:rPr lang="en-US" b="0" dirty="0"/>
              <a:t>Employment level, Feb ’20 – Nov ‘22, seasonally adjusted, indexed to Feb ’20 levels</a:t>
            </a:r>
          </a:p>
        </p:txBody>
      </p:sp>
      <p:sp>
        <p:nvSpPr>
          <p:cNvPr id="3" name="Slide Number Placeholder 2">
            <a:extLst>
              <a:ext uri="{FF2B5EF4-FFF2-40B4-BE49-F238E27FC236}">
                <a16:creationId xmlns:a16="http://schemas.microsoft.com/office/drawing/2014/main" id="{29B5CDC5-1424-4C38-8B02-8F278252DE39}"/>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4</a:t>
            </a:fld>
            <a:endParaRPr lang="en-US" sz="900" b="1" dirty="0">
              <a:solidFill>
                <a:schemeClr val="accent1"/>
              </a:solidFill>
              <a:latin typeface="Verlag Bold" pitchFamily="2" charset="0"/>
            </a:endParaRPr>
          </a:p>
        </p:txBody>
      </p:sp>
      <p:sp>
        <p:nvSpPr>
          <p:cNvPr id="30" name="TextBox 29">
            <a:extLst>
              <a:ext uri="{FF2B5EF4-FFF2-40B4-BE49-F238E27FC236}">
                <a16:creationId xmlns:a16="http://schemas.microsoft.com/office/drawing/2014/main" id="{724A73D6-7575-4FB7-AD82-B0D3293A7958}"/>
              </a:ext>
            </a:extLst>
          </p:cNvPr>
          <p:cNvSpPr txBox="1"/>
          <p:nvPr/>
        </p:nvSpPr>
        <p:spPr>
          <a:xfrm>
            <a:off x="2582043" y="6092574"/>
            <a:ext cx="339837" cy="184666"/>
          </a:xfrm>
          <a:prstGeom prst="rect">
            <a:avLst/>
          </a:prstGeom>
        </p:spPr>
        <p:txBody>
          <a:bodyPr vert="horz" wrap="none" lIns="0" tIns="0" rIns="0" bIns="0" rtlCol="0" anchor="t">
            <a:spAutoFit/>
          </a:bodyPr>
          <a:lstStyle/>
          <a:p>
            <a:pPr algn="r"/>
            <a:r>
              <a:rPr lang="en-US" dirty="0">
                <a:latin typeface="Arial" charset="0"/>
                <a:ea typeface="Arial" charset="0"/>
                <a:cs typeface="Arial" charset="0"/>
              </a:rPr>
              <a:t>2020</a:t>
            </a:r>
          </a:p>
        </p:txBody>
      </p:sp>
      <p:sp>
        <p:nvSpPr>
          <p:cNvPr id="31" name="TextBox 30">
            <a:extLst>
              <a:ext uri="{FF2B5EF4-FFF2-40B4-BE49-F238E27FC236}">
                <a16:creationId xmlns:a16="http://schemas.microsoft.com/office/drawing/2014/main" id="{4DFC81CE-41FE-4C5E-8370-0F1518E32A43}"/>
              </a:ext>
            </a:extLst>
          </p:cNvPr>
          <p:cNvSpPr txBox="1"/>
          <p:nvPr/>
        </p:nvSpPr>
        <p:spPr>
          <a:xfrm>
            <a:off x="3127998" y="6092574"/>
            <a:ext cx="438808" cy="184666"/>
          </a:xfrm>
          <a:prstGeom prst="rect">
            <a:avLst/>
          </a:prstGeom>
        </p:spPr>
        <p:txBody>
          <a:bodyPr vert="horz" wrap="square" lIns="0" tIns="0" rIns="0" bIns="0" rtlCol="0" anchor="t">
            <a:spAutoFit/>
          </a:bodyPr>
          <a:lstStyle/>
          <a:p>
            <a:r>
              <a:rPr lang="en-US" dirty="0">
                <a:latin typeface="Arial" charset="0"/>
                <a:ea typeface="Arial" charset="0"/>
                <a:cs typeface="Arial" charset="0"/>
              </a:rPr>
              <a:t>2021</a:t>
            </a:r>
          </a:p>
        </p:txBody>
      </p:sp>
      <p:cxnSp>
        <p:nvCxnSpPr>
          <p:cNvPr id="32" name="Straight Connector 31">
            <a:extLst>
              <a:ext uri="{FF2B5EF4-FFF2-40B4-BE49-F238E27FC236}">
                <a16:creationId xmlns:a16="http://schemas.microsoft.com/office/drawing/2014/main" id="{BC78FD67-3C15-43F2-8DE9-101FB6E05B4B}"/>
              </a:ext>
            </a:extLst>
          </p:cNvPr>
          <p:cNvCxnSpPr/>
          <p:nvPr/>
        </p:nvCxnSpPr>
        <p:spPr>
          <a:xfrm>
            <a:off x="3010345" y="5518925"/>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50824153-E669-49FF-AE05-EB54F94C2A16}"/>
              </a:ext>
            </a:extLst>
          </p:cNvPr>
          <p:cNvSpPr/>
          <p:nvPr/>
        </p:nvSpPr>
        <p:spPr>
          <a:xfrm rot="16200000">
            <a:off x="2431626" y="6114733"/>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Isosceles Triangle 33">
            <a:extLst>
              <a:ext uri="{FF2B5EF4-FFF2-40B4-BE49-F238E27FC236}">
                <a16:creationId xmlns:a16="http://schemas.microsoft.com/office/drawing/2014/main" id="{B4D53328-ED44-4091-9DEC-99B84FBB6FB7}"/>
              </a:ext>
            </a:extLst>
          </p:cNvPr>
          <p:cNvSpPr/>
          <p:nvPr/>
        </p:nvSpPr>
        <p:spPr>
          <a:xfrm rot="5400000">
            <a:off x="3502574" y="6114734"/>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452B3F9A-BE06-447B-8538-D9C8D335F3D0}"/>
              </a:ext>
            </a:extLst>
          </p:cNvPr>
          <p:cNvSpPr txBox="1"/>
          <p:nvPr/>
        </p:nvSpPr>
        <p:spPr>
          <a:xfrm>
            <a:off x="5301340" y="6092574"/>
            <a:ext cx="438808" cy="184666"/>
          </a:xfrm>
          <a:prstGeom prst="rect">
            <a:avLst/>
          </a:prstGeom>
        </p:spPr>
        <p:txBody>
          <a:bodyPr vert="horz" wrap="square" lIns="0" tIns="0" rIns="0" bIns="0" rtlCol="0" anchor="t">
            <a:spAutoFit/>
          </a:bodyPr>
          <a:lstStyle/>
          <a:p>
            <a:r>
              <a:rPr lang="en-US" dirty="0">
                <a:latin typeface="Arial" charset="0"/>
                <a:ea typeface="Arial" charset="0"/>
                <a:cs typeface="Arial" charset="0"/>
              </a:rPr>
              <a:t>2022</a:t>
            </a:r>
          </a:p>
        </p:txBody>
      </p:sp>
      <p:cxnSp>
        <p:nvCxnSpPr>
          <p:cNvPr id="15" name="Straight Connector 14">
            <a:extLst>
              <a:ext uri="{FF2B5EF4-FFF2-40B4-BE49-F238E27FC236}">
                <a16:creationId xmlns:a16="http://schemas.microsoft.com/office/drawing/2014/main" id="{BE90070A-DBC2-4566-98D2-B47A1EC80C16}"/>
              </a:ext>
            </a:extLst>
          </p:cNvPr>
          <p:cNvCxnSpPr/>
          <p:nvPr/>
        </p:nvCxnSpPr>
        <p:spPr>
          <a:xfrm>
            <a:off x="5154596" y="5518925"/>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16" name="Isosceles Triangle 15">
            <a:extLst>
              <a:ext uri="{FF2B5EF4-FFF2-40B4-BE49-F238E27FC236}">
                <a16:creationId xmlns:a16="http://schemas.microsoft.com/office/drawing/2014/main" id="{E4E75CE2-5FAC-4616-B5C8-431C2BDB2DEB}"/>
              </a:ext>
            </a:extLst>
          </p:cNvPr>
          <p:cNvSpPr/>
          <p:nvPr/>
        </p:nvSpPr>
        <p:spPr>
          <a:xfrm rot="5400000">
            <a:off x="5688464" y="6114734"/>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5733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FD8D94-DA0D-CC58-AC3F-620E024CA2A1}"/>
              </a:ext>
            </a:extLst>
          </p:cNvPr>
          <p:cNvGraphicFramePr>
            <a:graphicFrameLocks noChangeAspect="1"/>
          </p:cNvGraphicFramePr>
          <p:nvPr>
            <p:custDataLst>
              <p:tags r:id="rId1"/>
            </p:custDataLst>
            <p:extLst>
              <p:ext uri="{D42A27DB-BD31-4B8C-83A1-F6EECF244321}">
                <p14:modId xmlns:p14="http://schemas.microsoft.com/office/powerpoint/2010/main" val="244747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85FD8D94-DA0D-CC58-AC3F-620E024CA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72C3903D-8C03-CF13-E372-DAB3E125E0CB}"/>
              </a:ext>
            </a:extLst>
          </p:cNvPr>
          <p:cNvGraphicFramePr>
            <a:graphicFrameLocks noGrp="1"/>
          </p:cNvGraphicFramePr>
          <p:nvPr>
            <p:extLst>
              <p:ext uri="{D42A27DB-BD31-4B8C-83A1-F6EECF244321}">
                <p14:modId xmlns:p14="http://schemas.microsoft.com/office/powerpoint/2010/main" val="2194813917"/>
              </p:ext>
            </p:extLst>
          </p:nvPr>
        </p:nvGraphicFramePr>
        <p:xfrm>
          <a:off x="304800" y="1569847"/>
          <a:ext cx="8407401" cy="4197358"/>
        </p:xfrm>
        <a:graphic>
          <a:graphicData uri="http://schemas.openxmlformats.org/drawingml/2006/table">
            <a:tbl>
              <a:tblPr firstRow="1" firstCol="1" bandRow="1"/>
              <a:tblGrid>
                <a:gridCol w="1467439">
                  <a:extLst>
                    <a:ext uri="{9D8B030D-6E8A-4147-A177-3AD203B41FA5}">
                      <a16:colId xmlns:a16="http://schemas.microsoft.com/office/drawing/2014/main" val="3191868448"/>
                    </a:ext>
                  </a:extLst>
                </a:gridCol>
                <a:gridCol w="876693">
                  <a:extLst>
                    <a:ext uri="{9D8B030D-6E8A-4147-A177-3AD203B41FA5}">
                      <a16:colId xmlns:a16="http://schemas.microsoft.com/office/drawing/2014/main" val="4250489611"/>
                    </a:ext>
                  </a:extLst>
                </a:gridCol>
                <a:gridCol w="863929">
                  <a:extLst>
                    <a:ext uri="{9D8B030D-6E8A-4147-A177-3AD203B41FA5}">
                      <a16:colId xmlns:a16="http://schemas.microsoft.com/office/drawing/2014/main" val="1807560086"/>
                    </a:ext>
                  </a:extLst>
                </a:gridCol>
                <a:gridCol w="1039868">
                  <a:extLst>
                    <a:ext uri="{9D8B030D-6E8A-4147-A177-3AD203B41FA5}">
                      <a16:colId xmlns:a16="http://schemas.microsoft.com/office/drawing/2014/main" val="2942906598"/>
                    </a:ext>
                  </a:extLst>
                </a:gridCol>
                <a:gridCol w="1039868">
                  <a:extLst>
                    <a:ext uri="{9D8B030D-6E8A-4147-A177-3AD203B41FA5}">
                      <a16:colId xmlns:a16="http://schemas.microsoft.com/office/drawing/2014/main" val="954268124"/>
                    </a:ext>
                  </a:extLst>
                </a:gridCol>
                <a:gridCol w="1039868">
                  <a:extLst>
                    <a:ext uri="{9D8B030D-6E8A-4147-A177-3AD203B41FA5}">
                      <a16:colId xmlns:a16="http://schemas.microsoft.com/office/drawing/2014/main" val="2258731747"/>
                    </a:ext>
                  </a:extLst>
                </a:gridCol>
                <a:gridCol w="1039868">
                  <a:extLst>
                    <a:ext uri="{9D8B030D-6E8A-4147-A177-3AD203B41FA5}">
                      <a16:colId xmlns:a16="http://schemas.microsoft.com/office/drawing/2014/main" val="1486754341"/>
                    </a:ext>
                  </a:extLst>
                </a:gridCol>
                <a:gridCol w="1039868">
                  <a:extLst>
                    <a:ext uri="{9D8B030D-6E8A-4147-A177-3AD203B41FA5}">
                      <a16:colId xmlns:a16="http://schemas.microsoft.com/office/drawing/2014/main" val="648357325"/>
                    </a:ext>
                  </a:extLst>
                </a:gridCol>
              </a:tblGrid>
              <a:tr h="698972">
                <a:tc>
                  <a:txBody>
                    <a:bodyPr/>
                    <a:lstStyle/>
                    <a:p>
                      <a:pPr marL="0" marR="0">
                        <a:lnSpc>
                          <a:spcPct val="107000"/>
                        </a:lnSpc>
                        <a:spcBef>
                          <a:spcPts val="0"/>
                        </a:spcBef>
                        <a:spcAft>
                          <a:spcPts val="0"/>
                        </a:spcAft>
                      </a:pPr>
                      <a:r>
                        <a:rPr lang="en-US" sz="135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27305" marB="27305">
                    <a:lnL>
                      <a:noFill/>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Virginia</a:t>
                      </a:r>
                    </a:p>
                  </a:txBody>
                  <a:tcPr marL="68580" marR="68580" marT="27305" marB="2730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Texas</a:t>
                      </a:r>
                    </a:p>
                  </a:txBody>
                  <a:tcPr marL="68580" marR="68580" marT="27305" marB="27305" anchor="b">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Florida</a:t>
                      </a:r>
                    </a:p>
                  </a:txBody>
                  <a:tcPr marL="68580" marR="68580" marT="27305" marB="27305" anchor="b">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North Carolina</a:t>
                      </a:r>
                    </a:p>
                  </a:txBody>
                  <a:tcPr marL="68580" marR="68580" marT="27305" marB="27305" anchor="b">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South Carolina </a:t>
                      </a:r>
                    </a:p>
                  </a:txBody>
                  <a:tcPr marL="68580" marR="68580" marT="27305" marB="27305" anchor="b">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Tennessee</a:t>
                      </a:r>
                    </a:p>
                  </a:txBody>
                  <a:tcPr marL="68580" marR="68580" marT="27305" marB="27305" anchor="b">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strike="noStrike" kern="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Georgia</a:t>
                      </a:r>
                    </a:p>
                  </a:txBody>
                  <a:tcPr marL="68580" marR="68580" marT="27305" marB="27305"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456458"/>
                  </a:ext>
                </a:extLst>
              </a:tr>
              <a:tr h="700635">
                <a:tc>
                  <a:txBody>
                    <a:bodyPr/>
                    <a:lstStyle/>
                    <a:p>
                      <a:pPr marL="0" marR="0" algn="l" defTabSz="914400" rtl="0" eaLnBrk="1" latinLnBrk="0" hangingPunct="1">
                        <a:lnSpc>
                          <a:spcPct val="107000"/>
                        </a:lnSpc>
                        <a:spcBef>
                          <a:spcPts val="0"/>
                        </a:spcBef>
                        <a:spcAft>
                          <a:spcPts val="0"/>
                        </a:spcAft>
                      </a:pPr>
                      <a:r>
                        <a:rPr lang="en-US" sz="135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Nonfarm payroll job change*</a:t>
                      </a:r>
                    </a:p>
                    <a:p>
                      <a:pPr marL="0" marR="0" algn="l" defTabSz="914400" rtl="0" eaLnBrk="1" latinLnBrk="0" hangingPunct="1">
                        <a:lnSpc>
                          <a:spcPct val="107000"/>
                        </a:lnSpc>
                        <a:spcBef>
                          <a:spcPts val="0"/>
                        </a:spcBef>
                        <a:spcAft>
                          <a:spcPts val="0"/>
                        </a:spcAft>
                      </a:pPr>
                      <a:r>
                        <a:rPr lang="en-US" sz="135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 change)</a:t>
                      </a:r>
                    </a:p>
                  </a:txBody>
                  <a:tcPr marL="68580" marR="68580" marT="27305" marB="27305">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101,500</a:t>
                      </a:r>
                    </a:p>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27305" marB="273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566,6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4.3%)</a:t>
                      </a:r>
                    </a:p>
                  </a:txBody>
                  <a:tcPr marL="68580" marR="68580" marT="27305" marB="27305"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86,4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4.2%)</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72,5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7%)</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67,7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1%)</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95,1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0%)</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33,90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8%)</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7607437"/>
                  </a:ext>
                </a:extLst>
              </a:tr>
              <a:tr h="700635">
                <a:tc>
                  <a:txBody>
                    <a:bodyPr/>
                    <a:lstStyle/>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Employment change** </a:t>
                      </a:r>
                    </a:p>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 change)</a:t>
                      </a:r>
                      <a:endParaRPr lang="en-US" sz="135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27305" marB="27305">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85,247 (+2.1%) </a:t>
                      </a:r>
                    </a:p>
                  </a:txBody>
                  <a:tcPr marL="68580" marR="68580" marT="27305" marB="273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69,996</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68580" marR="68580" marT="27305" marB="27305"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91,309</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9%)</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15,835</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4%)</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0,301</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4%)</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009</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1%)</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58,792</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2%)</a:t>
                      </a:r>
                    </a:p>
                  </a:txBody>
                  <a:tcPr marL="68580" marR="68580" marT="27305" marB="27305"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261551"/>
                  </a:ext>
                </a:extLst>
              </a:tr>
              <a:tr h="698972">
                <a:tc>
                  <a:txBody>
                    <a:bodyPr/>
                    <a:lstStyle/>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Labor force change </a:t>
                      </a:r>
                    </a:p>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 change)</a:t>
                      </a:r>
                      <a:endParaRPr lang="en-US" sz="135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27305" marB="27305">
                    <a:lnL>
                      <a:noFill/>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   69,703 (+1.6%) </a:t>
                      </a:r>
                    </a:p>
                  </a:txBody>
                  <a:tcPr marL="68580" marR="68580" marT="27305" marB="273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60,889</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8%)</a:t>
                      </a:r>
                    </a:p>
                  </a:txBody>
                  <a:tcPr marL="68580" marR="68580" marT="27305" marB="27305" anchor="ctr">
                    <a:lnL w="12700" cap="flat" cmpd="sng" algn="ctr">
                      <a:no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07,789</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9%)</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118,943</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4%)</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6,212</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3%)</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415</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0%)</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46,502</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9%)</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8486822"/>
                  </a:ext>
                </a:extLst>
              </a:tr>
              <a:tr h="698972">
                <a:tc>
                  <a:txBody>
                    <a:bodyPr/>
                    <a:lstStyle/>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Labor force participation rate (change)</a:t>
                      </a:r>
                      <a:endParaRPr lang="en-US" sz="135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27305" marB="27305">
                    <a:lnL>
                      <a:noFill/>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63.6 (+0.7)</a:t>
                      </a:r>
                    </a:p>
                  </a:txBody>
                  <a:tcPr marL="68580" marR="68580" marT="27305" marB="273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63.5 </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2)</a:t>
                      </a:r>
                    </a:p>
                  </a:txBody>
                  <a:tcPr marL="68580" marR="68580" marT="27305" marB="27305" anchor="ctr">
                    <a:lnL w="12700" cap="flat" cmpd="sng" algn="ctr">
                      <a:no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59.5</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9)</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60.4</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7)</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56.4</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7)</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59.6</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7)</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61.7</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1)</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0871673"/>
                  </a:ext>
                </a:extLst>
              </a:tr>
              <a:tr h="698972">
                <a:tc>
                  <a:txBody>
                    <a:bodyPr/>
                    <a:lstStyle/>
                    <a:p>
                      <a:pPr marL="0" marR="0">
                        <a:lnSpc>
                          <a:spcPct val="107000"/>
                        </a:lnSpc>
                        <a:spcBef>
                          <a:spcPts val="0"/>
                        </a:spcBef>
                        <a:spcAft>
                          <a:spcPts val="0"/>
                        </a:spcAft>
                      </a:pPr>
                      <a:r>
                        <a:rPr lang="en-US" sz="1350" kern="1200" dirty="0">
                          <a:effectLst/>
                          <a:latin typeface="Arial" panose="020B0604020202020204" pitchFamily="34" charset="0"/>
                          <a:ea typeface="Calibri" panose="020F0502020204030204" pitchFamily="34" charset="0"/>
                          <a:cs typeface="Arial" panose="020B0604020202020204" pitchFamily="34" charset="0"/>
                        </a:rPr>
                        <a:t>Unemployment rate (change)</a:t>
                      </a:r>
                      <a:endParaRPr lang="en-US" sz="135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27305" marB="27305">
                    <a:lnL>
                      <a:noFill/>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2.8 </a:t>
                      </a:r>
                    </a:p>
                    <a:p>
                      <a:pPr marL="0" marR="0" algn="r" defTabSz="914400" rtl="0" eaLnBrk="1" latinLnBrk="0" hangingPunct="1">
                        <a:lnSpc>
                          <a:spcPct val="107000"/>
                        </a:lnSpc>
                        <a:spcBef>
                          <a:spcPts val="0"/>
                        </a:spcBef>
                        <a:spcAft>
                          <a:spcPts val="0"/>
                        </a:spcAft>
                      </a:pPr>
                      <a:r>
                        <a:rPr lang="en-US" sz="13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0.5)</a:t>
                      </a:r>
                    </a:p>
                  </a:txBody>
                  <a:tcPr marL="68580" marR="68580" marT="27305" marB="273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865"/>
                    </a:solidFill>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4.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8)</a:t>
                      </a:r>
                    </a:p>
                  </a:txBody>
                  <a:tcPr marL="68580" marR="68580" marT="27305" marB="27305" anchor="ctr">
                    <a:lnL w="12700" cap="flat" cmpd="sng" algn="ctr">
                      <a:no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2.6</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9)</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9</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0)</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3</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2)</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5</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0)</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3.0</a:t>
                      </a:r>
                    </a:p>
                    <a:p>
                      <a:pPr marL="0" marR="0" algn="r" defTabSz="914400" rtl="0" eaLnBrk="1" latinLnBrk="0" hangingPunct="1">
                        <a:lnSpc>
                          <a:spcPct val="107000"/>
                        </a:lnSpc>
                        <a:spcBef>
                          <a:spcPts val="0"/>
                        </a:spcBef>
                        <a:spcAft>
                          <a:spcPts val="0"/>
                        </a:spcAft>
                      </a:pPr>
                      <a:r>
                        <a:rPr lang="en-US" sz="1350" strike="noStrike"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0.2)</a:t>
                      </a:r>
                    </a:p>
                  </a:txBody>
                  <a:tcPr marL="68580" marR="68580" marT="27305" marB="27305"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0031334"/>
                  </a:ext>
                </a:extLst>
              </a:tr>
            </a:tbl>
          </a:graphicData>
        </a:graphic>
      </p:graphicFrame>
      <p:sp>
        <p:nvSpPr>
          <p:cNvPr id="8" name="Title 7">
            <a:extLst>
              <a:ext uri="{FF2B5EF4-FFF2-40B4-BE49-F238E27FC236}">
                <a16:creationId xmlns:a16="http://schemas.microsoft.com/office/drawing/2014/main" id="{658B3A2B-AAD7-BB17-9E7A-EEE42118211C}"/>
              </a:ext>
            </a:extLst>
          </p:cNvPr>
          <p:cNvSpPr>
            <a:spLocks noGrp="1"/>
          </p:cNvSpPr>
          <p:nvPr>
            <p:ph type="title"/>
          </p:nvPr>
        </p:nvSpPr>
        <p:spPr>
          <a:xfrm>
            <a:off x="304800" y="397616"/>
            <a:ext cx="8280400" cy="567394"/>
          </a:xfrm>
        </p:spPr>
        <p:txBody>
          <a:bodyPr vert="horz"/>
          <a:lstStyle/>
          <a:p>
            <a:r>
              <a:rPr lang="en-US" dirty="0">
                <a:latin typeface="Verlag Bold" pitchFamily="2" charset="0"/>
              </a:rPr>
              <a:t>Since January 2022, the Commonwealth has made noteworthy progress across key economic indicators</a:t>
            </a:r>
            <a:endParaRPr lang="en-US" dirty="0">
              <a:solidFill>
                <a:srgbClr val="B52C19"/>
              </a:solidFill>
              <a:latin typeface="Verlag Bold" pitchFamily="2" charset="0"/>
            </a:endParaRPr>
          </a:p>
        </p:txBody>
      </p:sp>
      <p:sp>
        <p:nvSpPr>
          <p:cNvPr id="30" name="Text Placeholder 29">
            <a:extLst>
              <a:ext uri="{FF2B5EF4-FFF2-40B4-BE49-F238E27FC236}">
                <a16:creationId xmlns:a16="http://schemas.microsoft.com/office/drawing/2014/main" id="{1D5F94CD-B7F1-DA59-B8F0-341C2C63302C}"/>
              </a:ext>
            </a:extLst>
          </p:cNvPr>
          <p:cNvSpPr>
            <a:spLocks noGrp="1"/>
          </p:cNvSpPr>
          <p:nvPr>
            <p:ph type="body" sz="quarter" idx="108"/>
          </p:nvPr>
        </p:nvSpPr>
        <p:spPr>
          <a:xfrm>
            <a:off x="304800" y="1138014"/>
            <a:ext cx="4007957" cy="399750"/>
          </a:xfrm>
        </p:spPr>
        <p:txBody>
          <a:bodyPr/>
          <a:lstStyle/>
          <a:p>
            <a:r>
              <a:rPr lang="en-US" dirty="0"/>
              <a:t>Key economic indicators since Youngkin inauguration</a:t>
            </a:r>
          </a:p>
          <a:p>
            <a:r>
              <a:rPr lang="en-US" b="0" dirty="0"/>
              <a:t>January 2022 – November 2022</a:t>
            </a:r>
          </a:p>
        </p:txBody>
      </p:sp>
      <p:sp>
        <p:nvSpPr>
          <p:cNvPr id="3" name="TextBox 2">
            <a:extLst>
              <a:ext uri="{FF2B5EF4-FFF2-40B4-BE49-F238E27FC236}">
                <a16:creationId xmlns:a16="http://schemas.microsoft.com/office/drawing/2014/main" id="{FDF32B2E-3D65-76E8-D6EC-DE154A01467D}"/>
              </a:ext>
            </a:extLst>
          </p:cNvPr>
          <p:cNvSpPr txBox="1"/>
          <p:nvPr/>
        </p:nvSpPr>
        <p:spPr>
          <a:xfrm>
            <a:off x="368300" y="5863494"/>
            <a:ext cx="8407400" cy="830997"/>
          </a:xfrm>
          <a:prstGeom prst="rect">
            <a:avLst/>
          </a:prstGeom>
        </p:spPr>
        <p:txBody>
          <a:bodyPr vert="horz" wrap="square" lIns="0" tIns="0" rIns="0" bIns="0" rtlCol="0" anchor="t">
            <a:spAutoFit/>
          </a:bodyPr>
          <a:lstStyle/>
          <a:p>
            <a:pPr algn="l"/>
            <a:r>
              <a:rPr lang="en-US" sz="900" dirty="0">
                <a:latin typeface="Arial" charset="0"/>
                <a:ea typeface="Arial" charset="0"/>
                <a:cs typeface="Arial" charset="0"/>
              </a:rPr>
              <a:t>Source: Bureau of Labor Statistics, Current Employment Statistics; Bureau of Labor Statistics, Local Area Unemployment Statistics (seasonally adjusted); VEDP calculations</a:t>
            </a:r>
          </a:p>
          <a:p>
            <a:pPr algn="l"/>
            <a:r>
              <a:rPr lang="en-US" sz="900" dirty="0">
                <a:latin typeface="Arial" charset="0"/>
                <a:ea typeface="Arial" charset="0"/>
                <a:cs typeface="Arial" charset="0"/>
              </a:rPr>
              <a:t>*The Current Employment Statistics (CES) program produces detailed monthly industry estimates of nonfarm employment, hours, and earnings of workers based on payroll records of business establishments.</a:t>
            </a:r>
          </a:p>
          <a:p>
            <a:pPr algn="l"/>
            <a:r>
              <a:rPr lang="en-US" sz="900" dirty="0">
                <a:latin typeface="Arial" charset="0"/>
                <a:ea typeface="Arial" charset="0"/>
                <a:cs typeface="Arial" charset="0"/>
              </a:rPr>
              <a:t>**The Local Area Unemployment Statistics (LAUS) program produces monthly and annual employment, unemployment, and labor force data for Census regions and divisions, States, counties, metropolitan areas, and many cities, by place of residence based on a household survey.</a:t>
            </a:r>
          </a:p>
        </p:txBody>
      </p:sp>
      <p:sp>
        <p:nvSpPr>
          <p:cNvPr id="4" name="Slide Number Placeholder 5">
            <a:extLst>
              <a:ext uri="{FF2B5EF4-FFF2-40B4-BE49-F238E27FC236}">
                <a16:creationId xmlns:a16="http://schemas.microsoft.com/office/drawing/2014/main" id="{C08CFB46-C39B-FF12-5EBE-837683F25E13}"/>
              </a:ext>
            </a:extLst>
          </p:cNvPr>
          <p:cNvSpPr txBox="1">
            <a:spLocks/>
          </p:cNvSpPr>
          <p:nvPr/>
        </p:nvSpPr>
        <p:spPr>
          <a:xfrm>
            <a:off x="8766796" y="6497676"/>
            <a:ext cx="365947" cy="189452"/>
          </a:xfrm>
          <a:prstGeom prst="rect">
            <a:avLst/>
          </a:prstGeom>
          <a:noFill/>
          <a:ln>
            <a:noFill/>
          </a:ln>
        </p:spPr>
        <p:txBody>
          <a:bodyPr vert="horz" wrap="square" lIns="0" tIns="0" rIns="0" bIns="0" rtlCol="0" anchor="ctr">
            <a:noAutofit/>
          </a:bodyPr>
          <a:lstStyle>
            <a:defPPr>
              <a:defRPr lang="en-US"/>
            </a:defPPr>
            <a:lvl1pPr marL="12700">
              <a:buFont typeface="Arial" panose="020B0604020202020204" pitchFamily="34" charset="0"/>
              <a:buNone/>
              <a:defRPr sz="900" b="1">
                <a:solidFill>
                  <a:schemeClr val="accent1"/>
                </a:solidFill>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fld id="{078C017C-E1B9-8443-B047-B08AAA027B45}" type="slidenum">
              <a:rPr lang="en-US">
                <a:latin typeface="Verlag Bold" pitchFamily="2" charset="0"/>
              </a:rPr>
              <a:pPr/>
              <a:t>35</a:t>
            </a:fld>
            <a:endParaRPr lang="en-US" dirty="0">
              <a:latin typeface="Verlag Bold" pitchFamily="2" charset="0"/>
            </a:endParaRPr>
          </a:p>
        </p:txBody>
      </p:sp>
    </p:spTree>
    <p:extLst>
      <p:ext uri="{BB962C8B-B14F-4D97-AF65-F5344CB8AC3E}">
        <p14:creationId xmlns:p14="http://schemas.microsoft.com/office/powerpoint/2010/main" val="32806688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EF3A8D-2C05-D808-10DE-465CFBC26E0B}"/>
              </a:ext>
            </a:extLst>
          </p:cNvPr>
          <p:cNvGraphicFramePr>
            <a:graphicFrameLocks noChangeAspect="1"/>
          </p:cNvGraphicFramePr>
          <p:nvPr>
            <p:custDataLst>
              <p:tags r:id="rId2"/>
            </p:custDataLst>
            <p:extLst>
              <p:ext uri="{D42A27DB-BD31-4B8C-83A1-F6EECF244321}">
                <p14:modId xmlns:p14="http://schemas.microsoft.com/office/powerpoint/2010/main" val="104804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23EF3A8D-2C05-D808-10DE-465CFBC26E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0F2107-EC28-4E55-BAC5-2C3F9B5A6937}"/>
              </a:ext>
            </a:extLst>
          </p:cNvPr>
          <p:cNvSpPr>
            <a:spLocks noGrp="1"/>
          </p:cNvSpPr>
          <p:nvPr>
            <p:ph type="title"/>
          </p:nvPr>
        </p:nvSpPr>
        <p:spPr>
          <a:xfrm>
            <a:off x="431799" y="423038"/>
            <a:ext cx="8358239" cy="567394"/>
          </a:xfrm>
        </p:spPr>
        <p:txBody>
          <a:bodyPr vert="horz"/>
          <a:lstStyle/>
          <a:p>
            <a:r>
              <a:rPr lang="en-US" dirty="0">
                <a:latin typeface="Verlag Bold" pitchFamily="2" charset="0"/>
              </a:rPr>
              <a:t>Job Openings in Virginia have continued to rise over the course of 2021 and 2022, reaching historic heights</a:t>
            </a:r>
          </a:p>
        </p:txBody>
      </p:sp>
      <p:graphicFrame>
        <p:nvGraphicFramePr>
          <p:cNvPr id="19" name="Chart Placeholder 8">
            <a:extLst>
              <a:ext uri="{FF2B5EF4-FFF2-40B4-BE49-F238E27FC236}">
                <a16:creationId xmlns:a16="http://schemas.microsoft.com/office/drawing/2014/main" id="{735A10B1-88A9-5E25-A47B-C957CCB1B8E4}"/>
              </a:ext>
            </a:extLst>
          </p:cNvPr>
          <p:cNvGraphicFramePr>
            <a:graphicFrameLocks noGrp="1"/>
          </p:cNvGraphicFramePr>
          <p:nvPr>
            <p:ph type="chart" sz="quarter" idx="113"/>
            <p:extLst>
              <p:ext uri="{D42A27DB-BD31-4B8C-83A1-F6EECF244321}">
                <p14:modId xmlns:p14="http://schemas.microsoft.com/office/powerpoint/2010/main" val="3714062358"/>
              </p:ext>
            </p:extLst>
          </p:nvPr>
        </p:nvGraphicFramePr>
        <p:xfrm>
          <a:off x="431800" y="1735138"/>
          <a:ext cx="8280400" cy="4430712"/>
        </p:xfrm>
        <a:graphic>
          <a:graphicData uri="http://schemas.openxmlformats.org/drawingml/2006/chart">
            <c:chart xmlns:c="http://schemas.openxmlformats.org/drawingml/2006/chart" xmlns:r="http://schemas.openxmlformats.org/officeDocument/2006/relationships" r:id="rId8"/>
          </a:graphicData>
        </a:graphic>
      </p:graphicFrame>
      <p:sp>
        <p:nvSpPr>
          <p:cNvPr id="4" name="Subtitle 3">
            <a:extLst>
              <a:ext uri="{FF2B5EF4-FFF2-40B4-BE49-F238E27FC236}">
                <a16:creationId xmlns:a16="http://schemas.microsoft.com/office/drawing/2014/main" id="{758EF9AA-ECF3-43F0-ADE1-4F5C5FDB7F29}"/>
              </a:ext>
            </a:extLst>
          </p:cNvPr>
          <p:cNvSpPr>
            <a:spLocks noGrp="1"/>
          </p:cNvSpPr>
          <p:nvPr>
            <p:ph type="subTitle" sz="quarter" idx="1000"/>
          </p:nvPr>
        </p:nvSpPr>
        <p:spPr/>
        <p:txBody>
          <a:bodyPr/>
          <a:lstStyle/>
          <a:p>
            <a:r>
              <a:rPr lang="en-US" dirty="0"/>
              <a:t>Source: Job Openings and Labor Turnover Survey, Bureau of Labor Statistics </a:t>
            </a:r>
          </a:p>
        </p:txBody>
      </p:sp>
      <p:sp>
        <p:nvSpPr>
          <p:cNvPr id="20" name="Text Placeholder 4">
            <a:extLst>
              <a:ext uri="{FF2B5EF4-FFF2-40B4-BE49-F238E27FC236}">
                <a16:creationId xmlns:a16="http://schemas.microsoft.com/office/drawing/2014/main" id="{B49CD012-0E01-7F13-181D-6236BC5D9759}"/>
              </a:ext>
            </a:extLst>
          </p:cNvPr>
          <p:cNvSpPr>
            <a:spLocks noGrp="1"/>
          </p:cNvSpPr>
          <p:nvPr>
            <p:ph type="body" sz="quarter" idx="108"/>
          </p:nvPr>
        </p:nvSpPr>
        <p:spPr>
          <a:xfrm>
            <a:off x="431800" y="1249594"/>
            <a:ext cx="5825313" cy="399750"/>
          </a:xfrm>
        </p:spPr>
        <p:txBody>
          <a:bodyPr/>
          <a:lstStyle/>
          <a:p>
            <a:r>
              <a:rPr lang="en-US" dirty="0"/>
              <a:t>Monthly hires, openings, and separations in Virginia</a:t>
            </a:r>
          </a:p>
          <a:p>
            <a:r>
              <a:rPr lang="en-US" b="0" dirty="0"/>
              <a:t>Thousands of hires, openings, and separations, Feb ’20 –Sep’22, seasonally adjusted</a:t>
            </a:r>
          </a:p>
        </p:txBody>
      </p:sp>
      <p:sp>
        <p:nvSpPr>
          <p:cNvPr id="6" name="Slide Number Placeholder 5">
            <a:extLst>
              <a:ext uri="{FF2B5EF4-FFF2-40B4-BE49-F238E27FC236}">
                <a16:creationId xmlns:a16="http://schemas.microsoft.com/office/drawing/2014/main" id="{BA41DDCF-60B5-457F-A72D-54CF8942B917}"/>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6</a:t>
            </a:fld>
            <a:endParaRPr lang="en-US" sz="900" b="1" dirty="0">
              <a:solidFill>
                <a:schemeClr val="accent1"/>
              </a:solidFill>
              <a:latin typeface="Verlag Bold" pitchFamily="2" charset="0"/>
            </a:endParaRPr>
          </a:p>
        </p:txBody>
      </p:sp>
      <p:sp>
        <p:nvSpPr>
          <p:cNvPr id="21" name="TextBox 20">
            <a:extLst>
              <a:ext uri="{FF2B5EF4-FFF2-40B4-BE49-F238E27FC236}">
                <a16:creationId xmlns:a16="http://schemas.microsoft.com/office/drawing/2014/main" id="{0282BD4F-4D31-B58C-3237-A0035CDDBB4D}"/>
              </a:ext>
            </a:extLst>
          </p:cNvPr>
          <p:cNvSpPr txBox="1"/>
          <p:nvPr/>
        </p:nvSpPr>
        <p:spPr>
          <a:xfrm>
            <a:off x="3026310" y="6167488"/>
            <a:ext cx="339837" cy="184666"/>
          </a:xfrm>
          <a:prstGeom prst="rect">
            <a:avLst/>
          </a:prstGeom>
        </p:spPr>
        <p:txBody>
          <a:bodyPr vert="horz" wrap="none" lIns="0" tIns="0" rIns="0" bIns="0" rtlCol="0" anchor="t">
            <a:spAutoFit/>
          </a:bodyPr>
          <a:lstStyle/>
          <a:p>
            <a:pPr algn="r"/>
            <a:r>
              <a:rPr lang="en-US" dirty="0">
                <a:latin typeface="Arial" charset="0"/>
                <a:ea typeface="Arial" charset="0"/>
                <a:cs typeface="Arial" charset="0"/>
              </a:rPr>
              <a:t>2020</a:t>
            </a:r>
          </a:p>
        </p:txBody>
      </p:sp>
      <p:sp>
        <p:nvSpPr>
          <p:cNvPr id="22" name="TextBox 21">
            <a:extLst>
              <a:ext uri="{FF2B5EF4-FFF2-40B4-BE49-F238E27FC236}">
                <a16:creationId xmlns:a16="http://schemas.microsoft.com/office/drawing/2014/main" id="{5580E04F-5AB9-4027-C375-50F30F6A4553}"/>
              </a:ext>
            </a:extLst>
          </p:cNvPr>
          <p:cNvSpPr txBox="1"/>
          <p:nvPr/>
        </p:nvSpPr>
        <p:spPr>
          <a:xfrm>
            <a:off x="3587012" y="6167488"/>
            <a:ext cx="438808" cy="184666"/>
          </a:xfrm>
          <a:prstGeom prst="rect">
            <a:avLst/>
          </a:prstGeom>
        </p:spPr>
        <p:txBody>
          <a:bodyPr vert="horz" wrap="square" lIns="0" tIns="0" rIns="0" bIns="0" rtlCol="0" anchor="t">
            <a:spAutoFit/>
          </a:bodyPr>
          <a:lstStyle/>
          <a:p>
            <a:r>
              <a:rPr lang="en-US" dirty="0">
                <a:latin typeface="Arial" charset="0"/>
                <a:ea typeface="Arial" charset="0"/>
                <a:cs typeface="Arial" charset="0"/>
              </a:rPr>
              <a:t>2021</a:t>
            </a:r>
          </a:p>
        </p:txBody>
      </p:sp>
      <p:cxnSp>
        <p:nvCxnSpPr>
          <p:cNvPr id="23" name="Straight Connector 22">
            <a:extLst>
              <a:ext uri="{FF2B5EF4-FFF2-40B4-BE49-F238E27FC236}">
                <a16:creationId xmlns:a16="http://schemas.microsoft.com/office/drawing/2014/main" id="{325DA63E-92DB-E4EC-118D-6218931E748E}"/>
              </a:ext>
            </a:extLst>
          </p:cNvPr>
          <p:cNvCxnSpPr/>
          <p:nvPr/>
        </p:nvCxnSpPr>
        <p:spPr>
          <a:xfrm>
            <a:off x="3469844" y="5576834"/>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24" name="Isosceles Triangle 23">
            <a:extLst>
              <a:ext uri="{FF2B5EF4-FFF2-40B4-BE49-F238E27FC236}">
                <a16:creationId xmlns:a16="http://schemas.microsoft.com/office/drawing/2014/main" id="{2F981298-14D5-1545-A462-DA761DD30087}"/>
              </a:ext>
            </a:extLst>
          </p:cNvPr>
          <p:cNvSpPr/>
          <p:nvPr/>
        </p:nvSpPr>
        <p:spPr>
          <a:xfrm rot="16200000">
            <a:off x="2882084" y="6191241"/>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Isosceles Triangle 24">
            <a:extLst>
              <a:ext uri="{FF2B5EF4-FFF2-40B4-BE49-F238E27FC236}">
                <a16:creationId xmlns:a16="http://schemas.microsoft.com/office/drawing/2014/main" id="{5252973C-86E3-2F8B-4258-A8D40E86DC8F}"/>
              </a:ext>
            </a:extLst>
          </p:cNvPr>
          <p:cNvSpPr/>
          <p:nvPr/>
        </p:nvSpPr>
        <p:spPr>
          <a:xfrm rot="5400000">
            <a:off x="3972725" y="6191241"/>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0B5AA4E5-83A3-0EC0-210D-43D8446FC9B5}"/>
              </a:ext>
            </a:extLst>
          </p:cNvPr>
          <p:cNvSpPr txBox="1"/>
          <p:nvPr/>
        </p:nvSpPr>
        <p:spPr>
          <a:xfrm>
            <a:off x="6381046" y="6160706"/>
            <a:ext cx="438808" cy="184666"/>
          </a:xfrm>
          <a:prstGeom prst="rect">
            <a:avLst/>
          </a:prstGeom>
        </p:spPr>
        <p:txBody>
          <a:bodyPr vert="horz" wrap="square" lIns="0" tIns="0" rIns="0" bIns="0" rtlCol="0" anchor="t">
            <a:spAutoFit/>
          </a:bodyPr>
          <a:lstStyle/>
          <a:p>
            <a:r>
              <a:rPr lang="en-US" dirty="0">
                <a:latin typeface="Arial" charset="0"/>
                <a:ea typeface="Arial" charset="0"/>
                <a:cs typeface="Arial" charset="0"/>
              </a:rPr>
              <a:t>2022</a:t>
            </a:r>
          </a:p>
        </p:txBody>
      </p:sp>
      <p:cxnSp>
        <p:nvCxnSpPr>
          <p:cNvPr id="27" name="Straight Connector 26">
            <a:extLst>
              <a:ext uri="{FF2B5EF4-FFF2-40B4-BE49-F238E27FC236}">
                <a16:creationId xmlns:a16="http://schemas.microsoft.com/office/drawing/2014/main" id="{57D8E6F7-BC60-D292-497A-994F3EB63B46}"/>
              </a:ext>
            </a:extLst>
          </p:cNvPr>
          <p:cNvCxnSpPr/>
          <p:nvPr/>
        </p:nvCxnSpPr>
        <p:spPr>
          <a:xfrm>
            <a:off x="6257113" y="5576834"/>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28" name="Isosceles Triangle 27">
            <a:extLst>
              <a:ext uri="{FF2B5EF4-FFF2-40B4-BE49-F238E27FC236}">
                <a16:creationId xmlns:a16="http://schemas.microsoft.com/office/drawing/2014/main" id="{A7DD1001-1318-C44D-467B-3D536B98CD21}"/>
              </a:ext>
            </a:extLst>
          </p:cNvPr>
          <p:cNvSpPr/>
          <p:nvPr/>
        </p:nvSpPr>
        <p:spPr>
          <a:xfrm rot="5400000">
            <a:off x="6779458" y="6191242"/>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5115355"/>
      </p:ext>
    </p:extLst>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44FC1CA-C14B-7072-4696-7DDD55D51DC0}"/>
              </a:ext>
            </a:extLst>
          </p:cNvPr>
          <p:cNvGraphicFramePr>
            <a:graphicFrameLocks noChangeAspect="1"/>
          </p:cNvGraphicFramePr>
          <p:nvPr>
            <p:custDataLst>
              <p:tags r:id="rId2"/>
            </p:custDataLst>
            <p:extLst>
              <p:ext uri="{D42A27DB-BD31-4B8C-83A1-F6EECF244321}">
                <p14:modId xmlns:p14="http://schemas.microsoft.com/office/powerpoint/2010/main" val="251675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444FC1CA-C14B-7072-4696-7DDD55D51D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D4B5529-1EB4-841B-FD1A-D6BC6E8E91A1}"/>
              </a:ext>
            </a:extLst>
          </p:cNvPr>
          <p:cNvSpPr>
            <a:spLocks noGrp="1"/>
          </p:cNvSpPr>
          <p:nvPr>
            <p:ph type="title"/>
          </p:nvPr>
        </p:nvSpPr>
        <p:spPr>
          <a:xfrm>
            <a:off x="431800" y="224258"/>
            <a:ext cx="8280400" cy="567394"/>
          </a:xfrm>
        </p:spPr>
        <p:txBody>
          <a:bodyPr vert="horz"/>
          <a:lstStyle/>
          <a:p>
            <a:r>
              <a:rPr lang="en-US" dirty="0">
                <a:latin typeface="Verlag Bold" pitchFamily="2" charset="0"/>
              </a:rPr>
              <a:t>Virginia currently pursues a broad set of target industries</a:t>
            </a:r>
          </a:p>
        </p:txBody>
      </p:sp>
      <p:sp>
        <p:nvSpPr>
          <p:cNvPr id="33" name="Rectangle 32">
            <a:extLst>
              <a:ext uri="{FF2B5EF4-FFF2-40B4-BE49-F238E27FC236}">
                <a16:creationId xmlns:a16="http://schemas.microsoft.com/office/drawing/2014/main" id="{EF8ED604-14F5-C19E-EF17-8AAFFD800E68}"/>
              </a:ext>
            </a:extLst>
          </p:cNvPr>
          <p:cNvSpPr/>
          <p:nvPr/>
        </p:nvSpPr>
        <p:spPr>
          <a:xfrm>
            <a:off x="238125" y="1076325"/>
            <a:ext cx="2857500" cy="5673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Manufacturing</a:t>
            </a:r>
          </a:p>
        </p:txBody>
      </p:sp>
      <p:sp>
        <p:nvSpPr>
          <p:cNvPr id="34" name="Rectangle 33">
            <a:extLst>
              <a:ext uri="{FF2B5EF4-FFF2-40B4-BE49-F238E27FC236}">
                <a16:creationId xmlns:a16="http://schemas.microsoft.com/office/drawing/2014/main" id="{273638FA-1C4B-C260-D533-8412CB6B45B6}"/>
              </a:ext>
            </a:extLst>
          </p:cNvPr>
          <p:cNvSpPr/>
          <p:nvPr/>
        </p:nvSpPr>
        <p:spPr>
          <a:xfrm>
            <a:off x="3143250" y="1076325"/>
            <a:ext cx="2857500" cy="5673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Information Technology</a:t>
            </a:r>
          </a:p>
        </p:txBody>
      </p:sp>
      <p:sp>
        <p:nvSpPr>
          <p:cNvPr id="35" name="Rectangle 34">
            <a:extLst>
              <a:ext uri="{FF2B5EF4-FFF2-40B4-BE49-F238E27FC236}">
                <a16:creationId xmlns:a16="http://schemas.microsoft.com/office/drawing/2014/main" id="{49727EE6-9DEF-5C17-6366-B3EE3291A094}"/>
              </a:ext>
            </a:extLst>
          </p:cNvPr>
          <p:cNvSpPr/>
          <p:nvPr/>
        </p:nvSpPr>
        <p:spPr>
          <a:xfrm>
            <a:off x="6048375" y="1076325"/>
            <a:ext cx="2857500" cy="5673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Services and Others</a:t>
            </a:r>
          </a:p>
        </p:txBody>
      </p:sp>
      <p:pic>
        <p:nvPicPr>
          <p:cNvPr id="36" name="Graphic 35">
            <a:extLst>
              <a:ext uri="{FF2B5EF4-FFF2-40B4-BE49-F238E27FC236}">
                <a16:creationId xmlns:a16="http://schemas.microsoft.com/office/drawing/2014/main" id="{2459576B-9BFF-D602-DBE4-6A733A6A95A6}"/>
              </a:ext>
            </a:extLst>
          </p:cNvPr>
          <p:cNvPicPr>
            <a:picLocks noChangeAspect="1"/>
          </p:cNvPicPr>
          <p:nvPr/>
        </p:nvPicPr>
        <p:blipFill rotWithShape="1">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l="5732" t="4916" r="4695" b="24795"/>
          <a:stretch/>
        </p:blipFill>
        <p:spPr>
          <a:xfrm>
            <a:off x="208286" y="3494872"/>
            <a:ext cx="1226773" cy="962639"/>
          </a:xfrm>
          <a:prstGeom prst="rect">
            <a:avLst/>
          </a:prstGeom>
        </p:spPr>
      </p:pic>
      <p:sp>
        <p:nvSpPr>
          <p:cNvPr id="37" name="TextBox 36">
            <a:extLst>
              <a:ext uri="{FF2B5EF4-FFF2-40B4-BE49-F238E27FC236}">
                <a16:creationId xmlns:a16="http://schemas.microsoft.com/office/drawing/2014/main" id="{98D0BC3D-2992-3BC7-27AD-A567E1677B5D}"/>
              </a:ext>
            </a:extLst>
          </p:cNvPr>
          <p:cNvSpPr txBox="1"/>
          <p:nvPr/>
        </p:nvSpPr>
        <p:spPr>
          <a:xfrm>
            <a:off x="452982" y="4391078"/>
            <a:ext cx="737381" cy="235550"/>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Automotive</a:t>
            </a:r>
          </a:p>
        </p:txBody>
      </p:sp>
      <p:pic>
        <p:nvPicPr>
          <p:cNvPr id="38" name="Graphic 37">
            <a:extLst>
              <a:ext uri="{FF2B5EF4-FFF2-40B4-BE49-F238E27FC236}">
                <a16:creationId xmlns:a16="http://schemas.microsoft.com/office/drawing/2014/main" id="{E21A6795-CD3B-09DA-6D18-6AA299B55EC1}"/>
              </a:ext>
            </a:extLst>
          </p:cNvPr>
          <p:cNvPicPr>
            <a:picLocks noChangeAspect="1"/>
          </p:cNvPicPr>
          <p:nvPr/>
        </p:nvPicPr>
        <p:blipFill rotWithShape="1">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l="11941" t="12608" r="10786" b="11055"/>
          <a:stretch/>
        </p:blipFill>
        <p:spPr>
          <a:xfrm>
            <a:off x="7086644" y="1663896"/>
            <a:ext cx="858312" cy="847928"/>
          </a:xfrm>
          <a:prstGeom prst="rect">
            <a:avLst/>
          </a:prstGeom>
        </p:spPr>
      </p:pic>
      <p:sp>
        <p:nvSpPr>
          <p:cNvPr id="39" name="TextBox 38">
            <a:extLst>
              <a:ext uri="{FF2B5EF4-FFF2-40B4-BE49-F238E27FC236}">
                <a16:creationId xmlns:a16="http://schemas.microsoft.com/office/drawing/2014/main" id="{16D9BFD4-DBF9-CA48-F73C-4AC624606FD1}"/>
              </a:ext>
            </a:extLst>
          </p:cNvPr>
          <p:cNvSpPr txBox="1"/>
          <p:nvPr/>
        </p:nvSpPr>
        <p:spPr>
          <a:xfrm>
            <a:off x="7069364" y="2415789"/>
            <a:ext cx="892873" cy="235550"/>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Headquarters</a:t>
            </a:r>
          </a:p>
        </p:txBody>
      </p:sp>
      <p:pic>
        <p:nvPicPr>
          <p:cNvPr id="40" name="Graphic 39">
            <a:extLst>
              <a:ext uri="{FF2B5EF4-FFF2-40B4-BE49-F238E27FC236}">
                <a16:creationId xmlns:a16="http://schemas.microsoft.com/office/drawing/2014/main" id="{340F4869-3DCC-952D-E71B-8DD64478B8AE}"/>
              </a:ext>
            </a:extLst>
          </p:cNvPr>
          <p:cNvPicPr>
            <a:picLocks noChangeAspect="1"/>
          </p:cNvPicPr>
          <p:nvPr/>
        </p:nvPicPr>
        <p:blipFill rotWithShape="1">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l="9204" t="16095" r="12816" b="12929"/>
          <a:stretch/>
        </p:blipFill>
        <p:spPr>
          <a:xfrm>
            <a:off x="3959149" y="1618912"/>
            <a:ext cx="1095965" cy="997527"/>
          </a:xfrm>
          <a:prstGeom prst="rect">
            <a:avLst/>
          </a:prstGeom>
        </p:spPr>
      </p:pic>
      <p:sp>
        <p:nvSpPr>
          <p:cNvPr id="41" name="TextBox 40">
            <a:extLst>
              <a:ext uri="{FF2B5EF4-FFF2-40B4-BE49-F238E27FC236}">
                <a16:creationId xmlns:a16="http://schemas.microsoft.com/office/drawing/2014/main" id="{7AAA188E-A856-AE27-0E33-5312B73EA26F}"/>
              </a:ext>
            </a:extLst>
          </p:cNvPr>
          <p:cNvSpPr txBox="1"/>
          <p:nvPr/>
        </p:nvSpPr>
        <p:spPr>
          <a:xfrm>
            <a:off x="4014750" y="2426320"/>
            <a:ext cx="984761" cy="176972"/>
          </a:xfrm>
          <a:prstGeom prst="rect">
            <a:avLst/>
          </a:prstGeom>
        </p:spPr>
        <p:txBody>
          <a:bodyPr vert="horz" wrap="square" lIns="0" tIns="0" rIns="0" bIns="0" rtlCol="0" anchor="t">
            <a:spAutoFit/>
          </a:bodyPr>
          <a:lstStyle/>
          <a:p>
            <a:pPr algn="ctr"/>
            <a:r>
              <a:rPr lang="en-US" sz="1150" dirty="0">
                <a:latin typeface="Arial" charset="0"/>
                <a:ea typeface="Arial" charset="0"/>
                <a:cs typeface="Arial" charset="0"/>
              </a:rPr>
              <a:t>Data Centers</a:t>
            </a:r>
          </a:p>
        </p:txBody>
      </p:sp>
      <p:pic>
        <p:nvPicPr>
          <p:cNvPr id="42" name="Picture 41" descr="A picture containing text, container&#10;&#10;Description automatically generated">
            <a:extLst>
              <a:ext uri="{FF2B5EF4-FFF2-40B4-BE49-F238E27FC236}">
                <a16:creationId xmlns:a16="http://schemas.microsoft.com/office/drawing/2014/main" id="{CDB33746-B47D-0025-2C9D-643D9AB87CB9}"/>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719359" y="1708012"/>
            <a:ext cx="874841" cy="803812"/>
          </a:xfrm>
          <a:prstGeom prst="rect">
            <a:avLst/>
          </a:prstGeom>
        </p:spPr>
      </p:pic>
      <p:sp>
        <p:nvSpPr>
          <p:cNvPr id="43" name="TextBox 42">
            <a:extLst>
              <a:ext uri="{FF2B5EF4-FFF2-40B4-BE49-F238E27FC236}">
                <a16:creationId xmlns:a16="http://schemas.microsoft.com/office/drawing/2014/main" id="{BA6E74D8-6E62-32C4-C9C9-6FCC5E4BC70A}"/>
              </a:ext>
            </a:extLst>
          </p:cNvPr>
          <p:cNvSpPr txBox="1"/>
          <p:nvPr/>
        </p:nvSpPr>
        <p:spPr>
          <a:xfrm>
            <a:off x="1628589" y="2426320"/>
            <a:ext cx="1056380" cy="235550"/>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Semiconductors</a:t>
            </a:r>
          </a:p>
        </p:txBody>
      </p:sp>
      <p:pic>
        <p:nvPicPr>
          <p:cNvPr id="44" name="Graphic 43">
            <a:extLst>
              <a:ext uri="{FF2B5EF4-FFF2-40B4-BE49-F238E27FC236}">
                <a16:creationId xmlns:a16="http://schemas.microsoft.com/office/drawing/2014/main" id="{4F614F3E-2B19-E06B-A1A3-617DC1E89236}"/>
              </a:ext>
            </a:extLst>
          </p:cNvPr>
          <p:cNvPicPr>
            <a:picLocks noChangeAspect="1"/>
          </p:cNvPicPr>
          <p:nvPr/>
        </p:nvPicPr>
        <p:blipFill rotWithShape="1">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rcRect l="22164" t="18669" r="20896" b="17857"/>
          <a:stretch/>
        </p:blipFill>
        <p:spPr>
          <a:xfrm>
            <a:off x="441283" y="1673680"/>
            <a:ext cx="760778" cy="848065"/>
          </a:xfrm>
          <a:prstGeom prst="rect">
            <a:avLst/>
          </a:prstGeom>
        </p:spPr>
      </p:pic>
      <p:sp>
        <p:nvSpPr>
          <p:cNvPr id="45" name="TextBox 44">
            <a:extLst>
              <a:ext uri="{FF2B5EF4-FFF2-40B4-BE49-F238E27FC236}">
                <a16:creationId xmlns:a16="http://schemas.microsoft.com/office/drawing/2014/main" id="{4D20487F-FD8E-FA2B-CAD9-74F5BD5B4150}"/>
              </a:ext>
            </a:extLst>
          </p:cNvPr>
          <p:cNvSpPr txBox="1"/>
          <p:nvPr/>
        </p:nvSpPr>
        <p:spPr>
          <a:xfrm>
            <a:off x="384052" y="2426320"/>
            <a:ext cx="875240" cy="235550"/>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Life Sciences</a:t>
            </a:r>
          </a:p>
        </p:txBody>
      </p:sp>
      <p:pic>
        <p:nvPicPr>
          <p:cNvPr id="46" name="Graphic 45">
            <a:extLst>
              <a:ext uri="{FF2B5EF4-FFF2-40B4-BE49-F238E27FC236}">
                <a16:creationId xmlns:a16="http://schemas.microsoft.com/office/drawing/2014/main" id="{F51B2BC3-379C-D886-3E24-7EB7FB9A870B}"/>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7218565" y="2679961"/>
            <a:ext cx="594471" cy="523135"/>
          </a:xfrm>
          <a:prstGeom prst="rect">
            <a:avLst/>
          </a:prstGeom>
        </p:spPr>
      </p:pic>
      <p:sp>
        <p:nvSpPr>
          <p:cNvPr id="47" name="TextBox 46">
            <a:extLst>
              <a:ext uri="{FF2B5EF4-FFF2-40B4-BE49-F238E27FC236}">
                <a16:creationId xmlns:a16="http://schemas.microsoft.com/office/drawing/2014/main" id="{3D83A249-28D8-95E6-2C80-A9ED5807A541}"/>
              </a:ext>
            </a:extLst>
          </p:cNvPr>
          <p:cNvSpPr txBox="1"/>
          <p:nvPr/>
        </p:nvSpPr>
        <p:spPr>
          <a:xfrm>
            <a:off x="6930704" y="3262350"/>
            <a:ext cx="1170192" cy="471098"/>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Business Process</a:t>
            </a:r>
          </a:p>
          <a:p>
            <a:pPr algn="ctr"/>
            <a:r>
              <a:rPr lang="en-US" sz="1150" dirty="0">
                <a:latin typeface="Arial" charset="0"/>
                <a:ea typeface="Arial" charset="0"/>
                <a:cs typeface="Arial" charset="0"/>
              </a:rPr>
              <a:t>Services</a:t>
            </a:r>
          </a:p>
        </p:txBody>
      </p:sp>
      <p:pic>
        <p:nvPicPr>
          <p:cNvPr id="48" name="Graphic 47">
            <a:extLst>
              <a:ext uri="{FF2B5EF4-FFF2-40B4-BE49-F238E27FC236}">
                <a16:creationId xmlns:a16="http://schemas.microsoft.com/office/drawing/2014/main" id="{C2EE33E5-253D-3C3A-8E33-0D9C5165BA96}"/>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513856" y="2683175"/>
            <a:ext cx="615633" cy="746833"/>
          </a:xfrm>
          <a:prstGeom prst="rect">
            <a:avLst/>
          </a:prstGeom>
        </p:spPr>
      </p:pic>
      <p:sp>
        <p:nvSpPr>
          <p:cNvPr id="49" name="TextBox 48">
            <a:extLst>
              <a:ext uri="{FF2B5EF4-FFF2-40B4-BE49-F238E27FC236}">
                <a16:creationId xmlns:a16="http://schemas.microsoft.com/office/drawing/2014/main" id="{CAAB64E4-1AEB-6975-C60C-D421422B2A5F}"/>
              </a:ext>
            </a:extLst>
          </p:cNvPr>
          <p:cNvSpPr txBox="1"/>
          <p:nvPr/>
        </p:nvSpPr>
        <p:spPr>
          <a:xfrm>
            <a:off x="469812" y="3433800"/>
            <a:ext cx="703720" cy="235550"/>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Aerospace</a:t>
            </a:r>
          </a:p>
        </p:txBody>
      </p:sp>
      <p:pic>
        <p:nvPicPr>
          <p:cNvPr id="50" name="Picture 49" descr="Icon&#10;&#10;Description automatically generated">
            <a:extLst>
              <a:ext uri="{FF2B5EF4-FFF2-40B4-BE49-F238E27FC236}">
                <a16:creationId xmlns:a16="http://schemas.microsoft.com/office/drawing/2014/main" id="{5F751248-C73B-DEDB-0349-49B2ACBCAFE5}"/>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323134" y="4744289"/>
            <a:ext cx="997076" cy="916124"/>
          </a:xfrm>
          <a:prstGeom prst="rect">
            <a:avLst/>
          </a:prstGeom>
        </p:spPr>
      </p:pic>
      <p:sp>
        <p:nvSpPr>
          <p:cNvPr id="51" name="TextBox 50">
            <a:extLst>
              <a:ext uri="{FF2B5EF4-FFF2-40B4-BE49-F238E27FC236}">
                <a16:creationId xmlns:a16="http://schemas.microsoft.com/office/drawing/2014/main" id="{44DA3443-0AD0-BA29-488D-30C36B85F66B}"/>
              </a:ext>
            </a:extLst>
          </p:cNvPr>
          <p:cNvSpPr txBox="1"/>
          <p:nvPr/>
        </p:nvSpPr>
        <p:spPr>
          <a:xfrm>
            <a:off x="236456" y="5620090"/>
            <a:ext cx="1170432" cy="471098"/>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Food &amp; Beverage</a:t>
            </a:r>
          </a:p>
          <a:p>
            <a:pPr algn="ctr"/>
            <a:r>
              <a:rPr lang="en-US" sz="1150" dirty="0">
                <a:latin typeface="Arial" charset="0"/>
                <a:ea typeface="Arial" charset="0"/>
                <a:cs typeface="Arial" charset="0"/>
              </a:rPr>
              <a:t>Processing</a:t>
            </a:r>
          </a:p>
        </p:txBody>
      </p:sp>
      <p:sp>
        <p:nvSpPr>
          <p:cNvPr id="52" name="TextBox 51">
            <a:extLst>
              <a:ext uri="{FF2B5EF4-FFF2-40B4-BE49-F238E27FC236}">
                <a16:creationId xmlns:a16="http://schemas.microsoft.com/office/drawing/2014/main" id="{A6795476-EC0D-0DEB-E7A3-2B33E64D0BD1}"/>
              </a:ext>
            </a:extLst>
          </p:cNvPr>
          <p:cNvSpPr txBox="1"/>
          <p:nvPr/>
        </p:nvSpPr>
        <p:spPr>
          <a:xfrm>
            <a:off x="4034427" y="3433800"/>
            <a:ext cx="900888" cy="176972"/>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Cybersecurity</a:t>
            </a:r>
          </a:p>
        </p:txBody>
      </p:sp>
      <p:pic>
        <p:nvPicPr>
          <p:cNvPr id="53" name="Picture 52">
            <a:extLst>
              <a:ext uri="{FF2B5EF4-FFF2-40B4-BE49-F238E27FC236}">
                <a16:creationId xmlns:a16="http://schemas.microsoft.com/office/drawing/2014/main" id="{D12FF16E-41F8-BB98-270F-06596D057E88}"/>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4238791" y="2744565"/>
            <a:ext cx="509465" cy="604562"/>
          </a:xfrm>
          <a:prstGeom prst="rect">
            <a:avLst/>
          </a:prstGeom>
        </p:spPr>
      </p:pic>
      <p:sp>
        <p:nvSpPr>
          <p:cNvPr id="54" name="TextBox 53">
            <a:extLst>
              <a:ext uri="{FF2B5EF4-FFF2-40B4-BE49-F238E27FC236}">
                <a16:creationId xmlns:a16="http://schemas.microsoft.com/office/drawing/2014/main" id="{3032041D-42C3-204C-B49A-27E5E6FDC64A}"/>
              </a:ext>
            </a:extLst>
          </p:cNvPr>
          <p:cNvSpPr txBox="1"/>
          <p:nvPr/>
        </p:nvSpPr>
        <p:spPr>
          <a:xfrm>
            <a:off x="1808928" y="4391078"/>
            <a:ext cx="695703" cy="353943"/>
          </a:xfrm>
          <a:prstGeom prst="rect">
            <a:avLst/>
          </a:prstGeom>
        </p:spPr>
        <p:txBody>
          <a:bodyPr vert="horz" wrap="none" lIns="0" tIns="0" rIns="0" bIns="0" rtlCol="0" anchor="t">
            <a:spAutoFit/>
          </a:bodyPr>
          <a:lstStyle/>
          <a:p>
            <a:pPr algn="ctr"/>
            <a:r>
              <a:rPr lang="en-US" sz="1150" dirty="0">
                <a:solidFill>
                  <a:schemeClr val="tx2"/>
                </a:solidFill>
                <a:latin typeface="Arial" charset="0"/>
                <a:ea typeface="Arial" charset="0"/>
                <a:cs typeface="Arial" charset="0"/>
              </a:rPr>
              <a:t>Advanced </a:t>
            </a:r>
            <a:br>
              <a:rPr lang="en-US" sz="1150" dirty="0">
                <a:solidFill>
                  <a:schemeClr val="tx2"/>
                </a:solidFill>
                <a:latin typeface="Arial" charset="0"/>
                <a:ea typeface="Arial" charset="0"/>
                <a:cs typeface="Arial" charset="0"/>
              </a:rPr>
            </a:br>
            <a:r>
              <a:rPr lang="en-US" sz="1150" dirty="0">
                <a:solidFill>
                  <a:schemeClr val="tx2"/>
                </a:solidFill>
                <a:latin typeface="Arial" charset="0"/>
                <a:ea typeface="Arial" charset="0"/>
                <a:cs typeface="Arial" charset="0"/>
              </a:rPr>
              <a:t>Materials</a:t>
            </a:r>
          </a:p>
        </p:txBody>
      </p:sp>
      <p:pic>
        <p:nvPicPr>
          <p:cNvPr id="55" name="Graphic 54">
            <a:extLst>
              <a:ext uri="{FF2B5EF4-FFF2-40B4-BE49-F238E27FC236}">
                <a16:creationId xmlns:a16="http://schemas.microsoft.com/office/drawing/2014/main" id="{8B4B4EBB-F288-8504-668B-31FAD9EBF9A0}"/>
              </a:ext>
            </a:extLst>
          </p:cNvPr>
          <p:cNvPicPr>
            <a:picLocks noChangeAspect="1"/>
          </p:cNvPicPr>
          <p:nvPr/>
        </p:nvPicPr>
        <p:blipFill rotWithShape="1">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rcRect l="9205" t="11314" r="12815" b="20348"/>
          <a:stretch/>
        </p:blipFill>
        <p:spPr>
          <a:xfrm>
            <a:off x="1718943" y="3596290"/>
            <a:ext cx="875673" cy="800132"/>
          </a:xfrm>
          <a:prstGeom prst="rect">
            <a:avLst/>
          </a:prstGeom>
        </p:spPr>
      </p:pic>
      <p:pic>
        <p:nvPicPr>
          <p:cNvPr id="56" name="Graphic 55">
            <a:extLst>
              <a:ext uri="{FF2B5EF4-FFF2-40B4-BE49-F238E27FC236}">
                <a16:creationId xmlns:a16="http://schemas.microsoft.com/office/drawing/2014/main" id="{54494F26-B438-02B1-310F-57B89B68F669}"/>
              </a:ext>
            </a:extLst>
          </p:cNvPr>
          <p:cNvPicPr>
            <a:picLocks noChangeAspect="1"/>
          </p:cNvPicPr>
          <p:nvPr/>
        </p:nvPicPr>
        <p:blipFill rotWithShape="1">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rcRect l="15384" t="17509" r="10703" b="15375"/>
          <a:stretch/>
        </p:blipFill>
        <p:spPr>
          <a:xfrm>
            <a:off x="1770849" y="2698365"/>
            <a:ext cx="771861" cy="700880"/>
          </a:xfrm>
          <a:prstGeom prst="rect">
            <a:avLst/>
          </a:prstGeom>
        </p:spPr>
      </p:pic>
      <p:sp>
        <p:nvSpPr>
          <p:cNvPr id="57" name="TextBox 56">
            <a:extLst>
              <a:ext uri="{FF2B5EF4-FFF2-40B4-BE49-F238E27FC236}">
                <a16:creationId xmlns:a16="http://schemas.microsoft.com/office/drawing/2014/main" id="{2B46808C-D694-F5D2-9D66-B4C0FC477393}"/>
              </a:ext>
            </a:extLst>
          </p:cNvPr>
          <p:cNvSpPr txBox="1"/>
          <p:nvPr/>
        </p:nvSpPr>
        <p:spPr>
          <a:xfrm>
            <a:off x="1493136" y="3433800"/>
            <a:ext cx="1327286" cy="176972"/>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Unmanned Systems</a:t>
            </a:r>
          </a:p>
        </p:txBody>
      </p:sp>
      <p:sp>
        <p:nvSpPr>
          <p:cNvPr id="58" name="TextBox 57">
            <a:extLst>
              <a:ext uri="{FF2B5EF4-FFF2-40B4-BE49-F238E27FC236}">
                <a16:creationId xmlns:a16="http://schemas.microsoft.com/office/drawing/2014/main" id="{7DA8C3B6-4273-802A-7245-E83619CB8743}"/>
              </a:ext>
            </a:extLst>
          </p:cNvPr>
          <p:cNvSpPr txBox="1"/>
          <p:nvPr/>
        </p:nvSpPr>
        <p:spPr>
          <a:xfrm>
            <a:off x="1652635" y="5635402"/>
            <a:ext cx="1008289" cy="176972"/>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Wood Products</a:t>
            </a:r>
          </a:p>
        </p:txBody>
      </p:sp>
      <p:pic>
        <p:nvPicPr>
          <p:cNvPr id="59" name="Picture 58" descr="Icon&#10;&#10;Description automatically generated">
            <a:extLst>
              <a:ext uri="{FF2B5EF4-FFF2-40B4-BE49-F238E27FC236}">
                <a16:creationId xmlns:a16="http://schemas.microsoft.com/office/drawing/2014/main" id="{3C57482B-FEFB-8AF0-E063-B29015102E4D}"/>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704399" y="4827940"/>
            <a:ext cx="904761" cy="832429"/>
          </a:xfrm>
          <a:prstGeom prst="rect">
            <a:avLst/>
          </a:prstGeom>
        </p:spPr>
      </p:pic>
      <p:pic>
        <p:nvPicPr>
          <p:cNvPr id="60" name="Graphic 59">
            <a:extLst>
              <a:ext uri="{FF2B5EF4-FFF2-40B4-BE49-F238E27FC236}">
                <a16:creationId xmlns:a16="http://schemas.microsoft.com/office/drawing/2014/main" id="{42BD3261-DBAA-5714-1A32-C47D38D17C12}"/>
              </a:ext>
            </a:extLst>
          </p:cNvPr>
          <p:cNvPicPr>
            <a:picLocks noChangeAspect="1"/>
          </p:cNvPicPr>
          <p:nvPr/>
        </p:nvPicPr>
        <p:blipFill rotWithShape="1">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rcRect l="16231" t="14715" r="17668" b="16768"/>
          <a:stretch/>
        </p:blipFill>
        <p:spPr>
          <a:xfrm>
            <a:off x="4053902" y="3583625"/>
            <a:ext cx="825571" cy="855774"/>
          </a:xfrm>
          <a:prstGeom prst="rect">
            <a:avLst/>
          </a:prstGeom>
        </p:spPr>
      </p:pic>
      <p:sp>
        <p:nvSpPr>
          <p:cNvPr id="61" name="TextBox 60">
            <a:extLst>
              <a:ext uri="{FF2B5EF4-FFF2-40B4-BE49-F238E27FC236}">
                <a16:creationId xmlns:a16="http://schemas.microsoft.com/office/drawing/2014/main" id="{6178A88F-6495-EA59-E777-8A28156819F4}"/>
              </a:ext>
            </a:extLst>
          </p:cNvPr>
          <p:cNvSpPr txBox="1"/>
          <p:nvPr/>
        </p:nvSpPr>
        <p:spPr>
          <a:xfrm>
            <a:off x="4175742" y="4391078"/>
            <a:ext cx="581891" cy="176972"/>
          </a:xfrm>
          <a:prstGeom prst="rect">
            <a:avLst/>
          </a:prstGeom>
        </p:spPr>
        <p:txBody>
          <a:bodyPr vert="horz" wrap="none" lIns="0" tIns="0" rIns="0" bIns="0" rtlCol="0" anchor="t">
            <a:spAutoFit/>
          </a:bodyPr>
          <a:lstStyle/>
          <a:p>
            <a:pPr algn="l"/>
            <a:r>
              <a:rPr lang="en-US" sz="1150" dirty="0">
                <a:latin typeface="Arial" charset="0"/>
                <a:ea typeface="Arial" charset="0"/>
                <a:cs typeface="Arial" charset="0"/>
              </a:rPr>
              <a:t>Software</a:t>
            </a:r>
          </a:p>
        </p:txBody>
      </p:sp>
      <p:pic>
        <p:nvPicPr>
          <p:cNvPr id="62" name="Picture 61">
            <a:extLst>
              <a:ext uri="{FF2B5EF4-FFF2-40B4-BE49-F238E27FC236}">
                <a16:creationId xmlns:a16="http://schemas.microsoft.com/office/drawing/2014/main" id="{45098789-D484-97E1-7854-7883440AD1F8}"/>
              </a:ext>
            </a:extLst>
          </p:cNvPr>
          <p:cNvPicPr>
            <a:picLocks noChangeAspect="1"/>
          </p:cNvPicPr>
          <p:nvPr/>
        </p:nvPicPr>
        <p:blipFill>
          <a:blip r:embed="rId29"/>
          <a:stretch>
            <a:fillRect/>
          </a:stretch>
        </p:blipFill>
        <p:spPr>
          <a:xfrm>
            <a:off x="6636985" y="3681348"/>
            <a:ext cx="531458" cy="671960"/>
          </a:xfrm>
          <a:prstGeom prst="rect">
            <a:avLst/>
          </a:prstGeom>
        </p:spPr>
      </p:pic>
      <p:sp>
        <p:nvSpPr>
          <p:cNvPr id="63" name="TextBox 62">
            <a:extLst>
              <a:ext uri="{FF2B5EF4-FFF2-40B4-BE49-F238E27FC236}">
                <a16:creationId xmlns:a16="http://schemas.microsoft.com/office/drawing/2014/main" id="{3B6EB51E-1946-2EDD-72B4-3C70BF05D244}"/>
              </a:ext>
            </a:extLst>
          </p:cNvPr>
          <p:cNvSpPr txBox="1"/>
          <p:nvPr/>
        </p:nvSpPr>
        <p:spPr>
          <a:xfrm>
            <a:off x="6430630" y="4391078"/>
            <a:ext cx="944169" cy="176972"/>
          </a:xfrm>
          <a:prstGeom prst="rect">
            <a:avLst/>
          </a:prstGeom>
        </p:spPr>
        <p:txBody>
          <a:bodyPr vert="horz" wrap="none" lIns="0" tIns="0" rIns="0" bIns="0" rtlCol="0" anchor="t">
            <a:spAutoFit/>
          </a:bodyPr>
          <a:lstStyle/>
          <a:p>
            <a:pPr algn="ctr"/>
            <a:r>
              <a:rPr lang="en-US" sz="1150" dirty="0">
                <a:solidFill>
                  <a:schemeClr val="tx2"/>
                </a:solidFill>
                <a:latin typeface="Arial" charset="0"/>
                <a:ea typeface="Arial" charset="0"/>
                <a:cs typeface="Arial" charset="0"/>
              </a:rPr>
              <a:t>Offshore Wind</a:t>
            </a:r>
          </a:p>
        </p:txBody>
      </p:sp>
      <p:pic>
        <p:nvPicPr>
          <p:cNvPr id="64" name="Picture 63" descr="A picture containing background pattern&#10;&#10;Description automatically generated">
            <a:extLst>
              <a:ext uri="{FF2B5EF4-FFF2-40B4-BE49-F238E27FC236}">
                <a16:creationId xmlns:a16="http://schemas.microsoft.com/office/drawing/2014/main" id="{BC52768A-CD0F-7D40-B2D9-578FC756BEF6}"/>
              </a:ext>
            </a:extLst>
          </p:cNvPr>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7121707" y="4857625"/>
            <a:ext cx="788186" cy="725174"/>
          </a:xfrm>
          <a:prstGeom prst="rect">
            <a:avLst/>
          </a:prstGeom>
        </p:spPr>
      </p:pic>
      <p:sp>
        <p:nvSpPr>
          <p:cNvPr id="65" name="TextBox 64">
            <a:extLst>
              <a:ext uri="{FF2B5EF4-FFF2-40B4-BE49-F238E27FC236}">
                <a16:creationId xmlns:a16="http://schemas.microsoft.com/office/drawing/2014/main" id="{8AA95AE8-16CB-C29C-F4D0-D925B16CB293}"/>
              </a:ext>
            </a:extLst>
          </p:cNvPr>
          <p:cNvSpPr txBox="1"/>
          <p:nvPr/>
        </p:nvSpPr>
        <p:spPr>
          <a:xfrm>
            <a:off x="6683447" y="5635402"/>
            <a:ext cx="1664707" cy="353943"/>
          </a:xfrm>
          <a:prstGeom prst="rect">
            <a:avLst/>
          </a:prstGeom>
        </p:spPr>
        <p:txBody>
          <a:bodyPr vert="horz" wrap="square" lIns="0" tIns="0" rIns="0" bIns="0" rtlCol="0" anchor="t">
            <a:spAutoFit/>
          </a:bodyPr>
          <a:lstStyle/>
          <a:p>
            <a:pPr algn="ctr"/>
            <a:r>
              <a:rPr lang="en-US" sz="1150" dirty="0">
                <a:latin typeface="Arial" charset="0"/>
                <a:ea typeface="Arial" charset="0"/>
                <a:cs typeface="Arial" charset="0"/>
              </a:rPr>
              <a:t>Controlled Environment </a:t>
            </a:r>
            <a:br>
              <a:rPr lang="en-US" sz="1150" dirty="0">
                <a:latin typeface="Arial" charset="0"/>
                <a:ea typeface="Arial" charset="0"/>
                <a:cs typeface="Arial" charset="0"/>
              </a:rPr>
            </a:br>
            <a:r>
              <a:rPr lang="en-US" sz="1150" dirty="0">
                <a:latin typeface="Arial" charset="0"/>
                <a:ea typeface="Arial" charset="0"/>
                <a:cs typeface="Arial" charset="0"/>
              </a:rPr>
              <a:t>Agriculture</a:t>
            </a:r>
          </a:p>
        </p:txBody>
      </p:sp>
      <p:pic>
        <p:nvPicPr>
          <p:cNvPr id="66" name="Graphic 65">
            <a:extLst>
              <a:ext uri="{FF2B5EF4-FFF2-40B4-BE49-F238E27FC236}">
                <a16:creationId xmlns:a16="http://schemas.microsoft.com/office/drawing/2014/main" id="{0DB22DDF-645C-7198-0259-FEB5153691EA}"/>
              </a:ext>
            </a:extLst>
          </p:cNvPr>
          <p:cNvPicPr>
            <a:picLocks noChangeAspect="1"/>
          </p:cNvPicPr>
          <p:nvPr/>
        </p:nvPicPr>
        <p:blipFill rotWithShape="1">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rcRect l="14461" t="13480" r="11497"/>
          <a:stretch/>
        </p:blipFill>
        <p:spPr>
          <a:xfrm>
            <a:off x="7794148" y="3602545"/>
            <a:ext cx="918114" cy="1072849"/>
          </a:xfrm>
          <a:prstGeom prst="rect">
            <a:avLst/>
          </a:prstGeom>
        </p:spPr>
      </p:pic>
      <p:sp>
        <p:nvSpPr>
          <p:cNvPr id="67" name="TextBox 66">
            <a:extLst>
              <a:ext uri="{FF2B5EF4-FFF2-40B4-BE49-F238E27FC236}">
                <a16:creationId xmlns:a16="http://schemas.microsoft.com/office/drawing/2014/main" id="{565D0BA9-5B4F-9EC4-48F3-82A97AE9F5AD}"/>
              </a:ext>
            </a:extLst>
          </p:cNvPr>
          <p:cNvSpPr txBox="1"/>
          <p:nvPr/>
        </p:nvSpPr>
        <p:spPr>
          <a:xfrm>
            <a:off x="7452724" y="4391078"/>
            <a:ext cx="1581912" cy="353943"/>
          </a:xfrm>
          <a:prstGeom prst="rect">
            <a:avLst/>
          </a:prstGeom>
        </p:spPr>
        <p:txBody>
          <a:bodyPr vert="horz" wrap="none" lIns="0" tIns="0" rIns="0" bIns="0" rtlCol="0" anchor="t">
            <a:spAutoFit/>
          </a:bodyPr>
          <a:lstStyle/>
          <a:p>
            <a:pPr algn="ctr"/>
            <a:r>
              <a:rPr lang="en-US" sz="1150" dirty="0">
                <a:latin typeface="Arial" charset="0"/>
                <a:ea typeface="Arial" charset="0"/>
                <a:cs typeface="Arial" charset="0"/>
              </a:rPr>
              <a:t>Supply Chain</a:t>
            </a:r>
          </a:p>
          <a:p>
            <a:pPr algn="ctr"/>
            <a:r>
              <a:rPr lang="en-US" sz="1150" dirty="0">
                <a:latin typeface="Arial" charset="0"/>
                <a:ea typeface="Arial" charset="0"/>
                <a:cs typeface="Arial" charset="0"/>
              </a:rPr>
              <a:t>Management</a:t>
            </a:r>
          </a:p>
        </p:txBody>
      </p:sp>
      <p:sp>
        <p:nvSpPr>
          <p:cNvPr id="2" name="TextBox 1">
            <a:extLst>
              <a:ext uri="{FF2B5EF4-FFF2-40B4-BE49-F238E27FC236}">
                <a16:creationId xmlns:a16="http://schemas.microsoft.com/office/drawing/2014/main" id="{8C9F7AF3-64A6-8056-13C5-7F9F30EB9E0E}"/>
              </a:ext>
            </a:extLst>
          </p:cNvPr>
          <p:cNvSpPr txBox="1"/>
          <p:nvPr/>
        </p:nvSpPr>
        <p:spPr>
          <a:xfrm>
            <a:off x="488184" y="6425667"/>
            <a:ext cx="7305964" cy="215444"/>
          </a:xfrm>
          <a:prstGeom prst="rect">
            <a:avLst/>
          </a:prstGeom>
        </p:spPr>
        <p:txBody>
          <a:bodyPr vert="horz" wrap="square" lIns="0" tIns="0" rIns="0" bIns="0" rtlCol="0" anchor="t">
            <a:spAutoFit/>
          </a:bodyPr>
          <a:lstStyle/>
          <a:p>
            <a:pPr algn="l"/>
            <a:r>
              <a:rPr lang="en-US" sz="1400" dirty="0">
                <a:latin typeface="Arial" charset="0"/>
                <a:ea typeface="Arial" charset="0"/>
                <a:cs typeface="Arial" charset="0"/>
              </a:rPr>
              <a:t>Source: Virginia Economic Development Partnership</a:t>
            </a:r>
          </a:p>
        </p:txBody>
      </p:sp>
      <p:sp>
        <p:nvSpPr>
          <p:cNvPr id="5" name="Slide Number Placeholder 5">
            <a:extLst>
              <a:ext uri="{FF2B5EF4-FFF2-40B4-BE49-F238E27FC236}">
                <a16:creationId xmlns:a16="http://schemas.microsoft.com/office/drawing/2014/main" id="{4D0DE4E5-F4E0-6735-5FDC-4648F1C36CE3}"/>
              </a:ext>
            </a:extLst>
          </p:cNvPr>
          <p:cNvSpPr txBox="1">
            <a:spLocks/>
          </p:cNvSpPr>
          <p:nvPr/>
        </p:nvSpPr>
        <p:spPr>
          <a:xfrm>
            <a:off x="8766796" y="6497676"/>
            <a:ext cx="365947" cy="189452"/>
          </a:xfrm>
          <a:prstGeom prst="rect">
            <a:avLst/>
          </a:prstGeom>
          <a:noFill/>
          <a:ln>
            <a:noFill/>
          </a:ln>
        </p:spPr>
        <p:txBody>
          <a:bodyPr vert="horz" wrap="square" lIns="0" tIns="0" rIns="0" bIns="0" rtlCol="0" anchor="ctr">
            <a:noAutofit/>
          </a:bodyPr>
          <a:lstStyle>
            <a:defPPr>
              <a:defRPr lang="en-US"/>
            </a:defPPr>
            <a:lvl1pPr marL="12700">
              <a:buFont typeface="Arial" panose="020B0604020202020204" pitchFamily="34" charset="0"/>
              <a:buNone/>
              <a:defRPr sz="900" b="1">
                <a:solidFill>
                  <a:schemeClr val="accent1"/>
                </a:solidFill>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fld id="{078C017C-E1B9-8443-B047-B08AAA027B45}" type="slidenum">
              <a:rPr lang="en-US">
                <a:latin typeface="Verlag Bold" pitchFamily="2" charset="0"/>
              </a:rPr>
              <a:pPr/>
              <a:t>37</a:t>
            </a:fld>
            <a:endParaRPr lang="en-US" dirty="0">
              <a:latin typeface="Verlag Bold" pitchFamily="2" charset="0"/>
            </a:endParaRPr>
          </a:p>
        </p:txBody>
      </p:sp>
    </p:spTree>
    <p:extLst>
      <p:ext uri="{BB962C8B-B14F-4D97-AF65-F5344CB8AC3E}">
        <p14:creationId xmlns:p14="http://schemas.microsoft.com/office/powerpoint/2010/main" val="1807319201"/>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B37155-22B7-4716-3DBD-D71E6C384456}"/>
              </a:ext>
            </a:extLst>
          </p:cNvPr>
          <p:cNvGraphicFramePr>
            <a:graphicFrameLocks noChangeAspect="1"/>
          </p:cNvGraphicFramePr>
          <p:nvPr>
            <p:custDataLst>
              <p:tags r:id="rId1"/>
            </p:custDataLst>
            <p:extLst>
              <p:ext uri="{D42A27DB-BD31-4B8C-83A1-F6EECF244321}">
                <p14:modId xmlns:p14="http://schemas.microsoft.com/office/powerpoint/2010/main" val="2310858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FB37155-22B7-4716-3DBD-D71E6C3844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855AC827-0948-4B95-B6BF-4F65130ED537}"/>
              </a:ext>
            </a:extLst>
          </p:cNvPr>
          <p:cNvGraphicFramePr>
            <a:graphicFrameLocks noGrp="1"/>
          </p:cNvGraphicFramePr>
          <p:nvPr>
            <p:ph sz="quarter" idx="200"/>
            <p:extLst>
              <p:ext uri="{D42A27DB-BD31-4B8C-83A1-F6EECF244321}">
                <p14:modId xmlns:p14="http://schemas.microsoft.com/office/powerpoint/2010/main" val="285349015"/>
              </p:ext>
            </p:extLst>
          </p:nvPr>
        </p:nvGraphicFramePr>
        <p:xfrm>
          <a:off x="431799" y="2107936"/>
          <a:ext cx="8280400" cy="2859436"/>
        </p:xfrm>
        <a:graphic>
          <a:graphicData uri="http://schemas.openxmlformats.org/drawingml/2006/table">
            <a:tbl>
              <a:tblPr firstRow="1" bandRow="1"/>
              <a:tblGrid>
                <a:gridCol w="1479296">
                  <a:extLst>
                    <a:ext uri="{9D8B030D-6E8A-4147-A177-3AD203B41FA5}">
                      <a16:colId xmlns:a16="http://schemas.microsoft.com/office/drawing/2014/main" val="3196038417"/>
                    </a:ext>
                  </a:extLst>
                </a:gridCol>
                <a:gridCol w="1700276">
                  <a:extLst>
                    <a:ext uri="{9D8B030D-6E8A-4147-A177-3AD203B41FA5}">
                      <a16:colId xmlns:a16="http://schemas.microsoft.com/office/drawing/2014/main" val="713721031"/>
                    </a:ext>
                  </a:extLst>
                </a:gridCol>
                <a:gridCol w="1479103">
                  <a:extLst>
                    <a:ext uri="{9D8B030D-6E8A-4147-A177-3AD203B41FA5}">
                      <a16:colId xmlns:a16="http://schemas.microsoft.com/office/drawing/2014/main" val="2029083960"/>
                    </a:ext>
                  </a:extLst>
                </a:gridCol>
                <a:gridCol w="1921449">
                  <a:extLst>
                    <a:ext uri="{9D8B030D-6E8A-4147-A177-3AD203B41FA5}">
                      <a16:colId xmlns:a16="http://schemas.microsoft.com/office/drawing/2014/main" val="3661485250"/>
                    </a:ext>
                  </a:extLst>
                </a:gridCol>
                <a:gridCol w="1700276">
                  <a:extLst>
                    <a:ext uri="{9D8B030D-6E8A-4147-A177-3AD203B41FA5}">
                      <a16:colId xmlns:a16="http://schemas.microsoft.com/office/drawing/2014/main" val="942054594"/>
                    </a:ext>
                  </a:extLst>
                </a:gridCol>
              </a:tblGrid>
              <a:tr h="508510">
                <a:tc>
                  <a:txBody>
                    <a:bodyPr/>
                    <a:lstStyle/>
                    <a:p>
                      <a:r>
                        <a:rPr lang="en-US" sz="1400" b="1" dirty="0">
                          <a:solidFill>
                            <a:schemeClr val="accent1"/>
                          </a:solidFill>
                        </a:rPr>
                        <a:t>State</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a:solidFill>
                            <a:schemeClr val="accent1"/>
                          </a:solidFill>
                        </a:rPr>
                        <a:t>2014 – 2021 </a:t>
                      </a:r>
                    </a:p>
                    <a:p>
                      <a:pPr algn="r"/>
                      <a:r>
                        <a:rPr lang="en-US" sz="1400" b="1" dirty="0">
                          <a:solidFill>
                            <a:schemeClr val="accent1"/>
                          </a:solidFill>
                        </a:rPr>
                        <a:t>net in-migration</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a:solidFill>
                            <a:schemeClr val="accent1"/>
                          </a:solidFill>
                        </a:rPr>
                        <a:t>State </a:t>
                      </a:r>
                    </a:p>
                    <a:p>
                      <a:pPr algn="r"/>
                      <a:r>
                        <a:rPr lang="en-US" sz="1400" b="1" dirty="0">
                          <a:solidFill>
                            <a:schemeClr val="accent1"/>
                          </a:solidFill>
                        </a:rPr>
                        <a:t>rank</a:t>
                      </a:r>
                      <a:r>
                        <a:rPr lang="en-US" sz="1400" b="1" baseline="30000" dirty="0">
                          <a:solidFill>
                            <a:schemeClr val="accent1"/>
                          </a:solidFill>
                        </a:rPr>
                        <a:t>1</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a:solidFill>
                            <a:schemeClr val="accent1"/>
                          </a:solidFill>
                        </a:rPr>
                        <a:t>2021 net </a:t>
                      </a:r>
                      <a:br>
                        <a:rPr lang="en-US" sz="1400" b="1" dirty="0">
                          <a:solidFill>
                            <a:schemeClr val="accent1"/>
                          </a:solidFill>
                        </a:rPr>
                      </a:br>
                      <a:r>
                        <a:rPr lang="en-US" sz="1400" b="1" dirty="0">
                          <a:solidFill>
                            <a:schemeClr val="accent1"/>
                          </a:solidFill>
                        </a:rPr>
                        <a:t>in-migration</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a:solidFill>
                            <a:schemeClr val="accent1"/>
                          </a:solidFill>
                        </a:rPr>
                        <a:t>State </a:t>
                      </a:r>
                    </a:p>
                    <a:p>
                      <a:pPr algn="r"/>
                      <a:r>
                        <a:rPr lang="en-US" sz="1400" b="1" dirty="0">
                          <a:solidFill>
                            <a:schemeClr val="accent1"/>
                          </a:solidFill>
                        </a:rPr>
                        <a:t>rank</a:t>
                      </a:r>
                      <a:r>
                        <a:rPr lang="en-US" sz="1400" b="1" baseline="30000" dirty="0">
                          <a:solidFill>
                            <a:schemeClr val="accent1"/>
                          </a:solidFill>
                        </a:rPr>
                        <a:t>1</a:t>
                      </a:r>
                    </a:p>
                  </a:txBody>
                  <a:tcPr anchor="b">
                    <a:lnL w="12700" cmpd="sng">
                      <a:noFill/>
                      <a:prstDash val="solid"/>
                    </a:lnL>
                    <a:lnR w="12700" cmpd="sng">
                      <a:noFill/>
                      <a:prstDash val="soli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6043156"/>
                  </a:ext>
                </a:extLst>
              </a:tr>
              <a:tr h="334468">
                <a:tc>
                  <a:txBody>
                    <a:bodyPr/>
                    <a:lstStyle/>
                    <a:p>
                      <a:pPr algn="l" rtl="0" fontAlgn="b"/>
                      <a:r>
                        <a:rPr lang="en-US" sz="1400" b="0" i="0" u="none" strike="noStrike" dirty="0">
                          <a:solidFill>
                            <a:schemeClr val="tx1"/>
                          </a:solidFill>
                          <a:effectLst/>
                          <a:latin typeface="+mn-lt"/>
                        </a:rPr>
                        <a:t>South Carolina</a:t>
                      </a:r>
                    </a:p>
                  </a:txBody>
                  <a:tcP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411,940</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4</a:t>
                      </a:r>
                    </a:p>
                  </a:txBody>
                  <a:tcPr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64,833 </a:t>
                      </a:r>
                    </a:p>
                  </a:txBody>
                  <a:tcP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4 </a:t>
                      </a:r>
                    </a:p>
                  </a:txBody>
                  <a:tcP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6319496"/>
                  </a:ext>
                </a:extLst>
              </a:tr>
              <a:tr h="334468">
                <a:tc>
                  <a:txBody>
                    <a:bodyPr/>
                    <a:lstStyle/>
                    <a:p>
                      <a:pPr algn="l" rtl="0" fontAlgn="b"/>
                      <a:r>
                        <a:rPr lang="en-US" sz="1400" b="0" i="0" u="none" strike="noStrike" dirty="0">
                          <a:solidFill>
                            <a:schemeClr val="tx1"/>
                          </a:solidFill>
                          <a:effectLst/>
                          <a:latin typeface="+mn-lt"/>
                        </a:rPr>
                        <a:t>Florida</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388,975</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5</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220,890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7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0850090"/>
                  </a:ext>
                </a:extLst>
              </a:tr>
              <a:tr h="334468">
                <a:tc>
                  <a:txBody>
                    <a:bodyPr/>
                    <a:lstStyle/>
                    <a:p>
                      <a:pPr algn="l" rtl="0" fontAlgn="b"/>
                      <a:r>
                        <a:rPr lang="en-US" sz="1400" b="0" i="0" u="none" strike="noStrike" dirty="0">
                          <a:solidFill>
                            <a:schemeClr val="tx1"/>
                          </a:solidFill>
                          <a:effectLst/>
                          <a:latin typeface="+mn-lt"/>
                        </a:rPr>
                        <a:t>Tennessee</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310,251</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1</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61,390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10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514688"/>
                  </a:ext>
                </a:extLst>
              </a:tr>
              <a:tr h="334468">
                <a:tc>
                  <a:txBody>
                    <a:bodyPr/>
                    <a:lstStyle/>
                    <a:p>
                      <a:pPr algn="l" rtl="0" fontAlgn="b"/>
                      <a:r>
                        <a:rPr lang="en-US" sz="1400" b="0" i="0" u="none" strike="noStrike" dirty="0">
                          <a:solidFill>
                            <a:schemeClr val="tx1"/>
                          </a:solidFill>
                          <a:effectLst/>
                          <a:latin typeface="+mn-lt"/>
                        </a:rPr>
                        <a:t>North Carolina</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516,392</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0</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88,673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11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0837767"/>
                  </a:ext>
                </a:extLst>
              </a:tr>
              <a:tr h="334468">
                <a:tc>
                  <a:txBody>
                    <a:bodyPr/>
                    <a:lstStyle/>
                    <a:p>
                      <a:pPr algn="l" rtl="0" fontAlgn="b"/>
                      <a:r>
                        <a:rPr lang="en-US" sz="1400" b="0" i="0" u="none" strike="noStrike" dirty="0">
                          <a:solidFill>
                            <a:schemeClr val="tx1"/>
                          </a:solidFill>
                          <a:effectLst/>
                          <a:latin typeface="+mn-lt"/>
                        </a:rPr>
                        <a:t>Texas</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076,451</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4</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170,307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16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96995214"/>
                  </a:ext>
                </a:extLst>
              </a:tr>
              <a:tr h="334468">
                <a:tc>
                  <a:txBody>
                    <a:bodyPr/>
                    <a:lstStyle/>
                    <a:p>
                      <a:pPr algn="l" rtl="0" fontAlgn="b"/>
                      <a:r>
                        <a:rPr lang="en-US" sz="1400" b="0" i="0" u="none" strike="noStrike" dirty="0">
                          <a:solidFill>
                            <a:schemeClr val="tx1"/>
                          </a:solidFill>
                          <a:effectLst/>
                          <a:latin typeface="+mn-lt"/>
                        </a:rPr>
                        <a:t>Georgia</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315,830</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dirty="0"/>
                        <a:t>15</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50,632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i="0" u="none" strike="noStrike" dirty="0">
                          <a:solidFill>
                            <a:schemeClr val="tx1"/>
                          </a:solidFill>
                          <a:effectLst/>
                          <a:latin typeface="+mn-lt"/>
                        </a:rPr>
                        <a:t>              18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25785"/>
                  </a:ext>
                </a:extLst>
              </a:tr>
              <a:tr h="334468">
                <a:tc>
                  <a:txBody>
                    <a:bodyPr/>
                    <a:lstStyle/>
                    <a:p>
                      <a:pPr algn="l" rtl="0" fontAlgn="b"/>
                      <a:r>
                        <a:rPr lang="en-US" sz="1400" b="1" i="0" u="none" strike="noStrike" dirty="0">
                          <a:solidFill>
                            <a:schemeClr val="bg1"/>
                          </a:solidFill>
                          <a:effectLst/>
                          <a:latin typeface="+mn-lt"/>
                        </a:rPr>
                        <a:t>Virginia</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r>
                        <a:rPr lang="en-US" sz="1400" b="1" dirty="0">
                          <a:solidFill>
                            <a:schemeClr val="bg1"/>
                          </a:solidFill>
                        </a:rPr>
                        <a:t>-115,329</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r>
                        <a:rPr lang="en-US" sz="1400" b="1" dirty="0">
                          <a:solidFill>
                            <a:schemeClr val="bg1"/>
                          </a:solidFill>
                        </a:rPr>
                        <a:t>31</a:t>
                      </a:r>
                    </a:p>
                  </a:txBody>
                  <a:tcPr anchor="ct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r>
                        <a:rPr lang="en-US" sz="1400" b="1" i="0" u="none" strike="noStrike" dirty="0">
                          <a:solidFill>
                            <a:schemeClr val="bg1"/>
                          </a:solidFill>
                          <a:effectLst/>
                          <a:latin typeface="+mn-lt"/>
                        </a:rPr>
                        <a:t>     -8,995</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fontAlgn="b"/>
                      <a:r>
                        <a:rPr lang="en-US" sz="1400" b="1" i="0" u="none" strike="noStrike" dirty="0">
                          <a:solidFill>
                            <a:schemeClr val="bg1"/>
                          </a:solidFill>
                          <a:effectLst/>
                          <a:latin typeface="+mn-lt"/>
                        </a:rPr>
                        <a:t>              36 </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91131956"/>
                  </a:ext>
                </a:extLst>
              </a:tr>
            </a:tbl>
          </a:graphicData>
        </a:graphic>
      </p:graphicFrame>
      <p:sp>
        <p:nvSpPr>
          <p:cNvPr id="3" name="Title 2">
            <a:extLst>
              <a:ext uri="{FF2B5EF4-FFF2-40B4-BE49-F238E27FC236}">
                <a16:creationId xmlns:a16="http://schemas.microsoft.com/office/drawing/2014/main" id="{98A7FF60-63D7-46A3-B148-F8BA20087FE5}"/>
              </a:ext>
            </a:extLst>
          </p:cNvPr>
          <p:cNvSpPr>
            <a:spLocks noGrp="1"/>
          </p:cNvSpPr>
          <p:nvPr>
            <p:ph type="title"/>
          </p:nvPr>
        </p:nvSpPr>
        <p:spPr>
          <a:xfrm>
            <a:off x="431799" y="473859"/>
            <a:ext cx="8280400" cy="567394"/>
          </a:xfrm>
        </p:spPr>
        <p:txBody>
          <a:bodyPr vert="horz"/>
          <a:lstStyle/>
          <a:p>
            <a:r>
              <a:rPr lang="en-US" dirty="0"/>
              <a:t>Virginia has attracted fewer movers than COMPETITOR STATES since 2014</a:t>
            </a:r>
          </a:p>
        </p:txBody>
      </p:sp>
      <p:sp>
        <p:nvSpPr>
          <p:cNvPr id="4" name="Subtitle 3">
            <a:extLst>
              <a:ext uri="{FF2B5EF4-FFF2-40B4-BE49-F238E27FC236}">
                <a16:creationId xmlns:a16="http://schemas.microsoft.com/office/drawing/2014/main" id="{C61E6A08-58BA-4731-9E0C-EF17C2BAEF22}"/>
              </a:ext>
            </a:extLst>
          </p:cNvPr>
          <p:cNvSpPr>
            <a:spLocks noGrp="1"/>
          </p:cNvSpPr>
          <p:nvPr>
            <p:ph type="subTitle" sz="quarter" idx="1000"/>
          </p:nvPr>
        </p:nvSpPr>
        <p:spPr>
          <a:xfrm>
            <a:off x="431799" y="5175988"/>
            <a:ext cx="7440613" cy="505508"/>
          </a:xfrm>
        </p:spPr>
        <p:txBody>
          <a:bodyPr/>
          <a:lstStyle/>
          <a:p>
            <a:pPr lvl="1"/>
            <a:r>
              <a:rPr lang="en-US" dirty="0"/>
              <a:t>State rank based on domestic net migration as percent of total state population</a:t>
            </a:r>
          </a:p>
          <a:p>
            <a:r>
              <a:rPr lang="en-US" sz="1400" dirty="0"/>
              <a:t>Source: Census Bureau, Population Estimates Program</a:t>
            </a:r>
          </a:p>
        </p:txBody>
      </p:sp>
      <p:sp>
        <p:nvSpPr>
          <p:cNvPr id="5" name="Slide Number Placeholder 4">
            <a:extLst>
              <a:ext uri="{FF2B5EF4-FFF2-40B4-BE49-F238E27FC236}">
                <a16:creationId xmlns:a16="http://schemas.microsoft.com/office/drawing/2014/main" id="{3F5693F2-5705-4513-9A8C-8F612E7CD72E}"/>
              </a:ext>
            </a:extLst>
          </p:cNvPr>
          <p:cNvSpPr>
            <a:spLocks noGrp="1"/>
          </p:cNvSpPr>
          <p:nvPr>
            <p:ph type="sldNum" sz="quarter" idx="4294967295"/>
          </p:nvPr>
        </p:nvSpPr>
        <p:spPr>
          <a:xfrm>
            <a:off x="8793163" y="6516688"/>
            <a:ext cx="350837" cy="174625"/>
          </a:xfrm>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38</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
        <p:nvSpPr>
          <p:cNvPr id="17" name="Text Placeholder 4">
            <a:extLst>
              <a:ext uri="{FF2B5EF4-FFF2-40B4-BE49-F238E27FC236}">
                <a16:creationId xmlns:a16="http://schemas.microsoft.com/office/drawing/2014/main" id="{C09EE465-4536-63BB-C734-C698126FA272}"/>
              </a:ext>
            </a:extLst>
          </p:cNvPr>
          <p:cNvSpPr txBox="1">
            <a:spLocks/>
          </p:cNvSpPr>
          <p:nvPr/>
        </p:nvSpPr>
        <p:spPr>
          <a:xfrm>
            <a:off x="431799" y="1429258"/>
            <a:ext cx="4225965" cy="399750"/>
          </a:xfrm>
          <a:prstGeom prst="rect">
            <a:avLst/>
          </a:prstGeom>
          <a:blipFill dpi="0" rotWithShape="1">
            <a:blip r:embed="rId5"/>
            <a:srcRect/>
            <a:tile tx="0" ty="0" sx="100000" sy="100000" flip="xy" algn="b"/>
          </a:blipFill>
          <a:effectLst/>
        </p:spPr>
        <p:txBody>
          <a:bodyPr vert="horz" wrap="none" lIns="0" tIns="0" rIns="0" bIns="54000" rtlCol="0" anchor="b">
            <a:spAutoFit/>
          </a:bodyPr>
          <a:lstStyle>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r>
              <a:rPr lang="en-US" dirty="0"/>
              <a:t>Net domestic migration, Virginia compared to peer states </a:t>
            </a:r>
          </a:p>
          <a:p>
            <a:r>
              <a:rPr lang="en-US" b="0" dirty="0"/>
              <a:t>2014-2021</a:t>
            </a:r>
          </a:p>
        </p:txBody>
      </p:sp>
    </p:spTree>
    <p:extLst>
      <p:ext uri="{BB962C8B-B14F-4D97-AF65-F5344CB8AC3E}">
        <p14:creationId xmlns:p14="http://schemas.microsoft.com/office/powerpoint/2010/main" val="718117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027523" y="2948100"/>
            <a:ext cx="5745564"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Virginia’s </a:t>
            </a:r>
          </a:p>
          <a:p>
            <a:pPr>
              <a:lnSpc>
                <a:spcPct val="100000"/>
              </a:lnSpc>
            </a:pPr>
            <a:r>
              <a:rPr lang="en-US" sz="3600" cap="none" dirty="0">
                <a:solidFill>
                  <a:schemeClr val="bg1"/>
                </a:solidFill>
                <a:latin typeface="Verlag Bold" pitchFamily="2" charset="0"/>
              </a:rPr>
              <a:t>Competitive Landscape</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1916AE7E-E4CD-A38D-B7F4-18B3975E816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a:t>
            </a:fld>
            <a:endParaRPr lang="en-US" dirty="0">
              <a:latin typeface="Verlag Bold" pitchFamily="2" charset="0"/>
            </a:endParaRPr>
          </a:p>
        </p:txBody>
      </p:sp>
      <p:cxnSp>
        <p:nvCxnSpPr>
          <p:cNvPr id="4" name="Straight Connector 3">
            <a:extLst>
              <a:ext uri="{FF2B5EF4-FFF2-40B4-BE49-F238E27FC236}">
                <a16:creationId xmlns:a16="http://schemas.microsoft.com/office/drawing/2014/main" id="{5E3BE8CF-4A39-F58D-5DED-BD1BBC54A3CE}"/>
              </a:ext>
            </a:extLst>
          </p:cNvPr>
          <p:cNvCxnSpPr>
            <a:cxnSpLocks/>
          </p:cNvCxnSpPr>
          <p:nvPr/>
        </p:nvCxnSpPr>
        <p:spPr>
          <a:xfrm>
            <a:off x="1027523" y="3991231"/>
            <a:ext cx="59924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4815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DE4125-3BC5-723C-2199-5AF2E87F139D}"/>
              </a:ext>
            </a:extLst>
          </p:cNvPr>
          <p:cNvGraphicFramePr>
            <a:graphicFrameLocks noChangeAspect="1"/>
          </p:cNvGraphicFramePr>
          <p:nvPr>
            <p:custDataLst>
              <p:tags r:id="rId1"/>
            </p:custDataLst>
            <p:extLst>
              <p:ext uri="{D42A27DB-BD31-4B8C-83A1-F6EECF244321}">
                <p14:modId xmlns:p14="http://schemas.microsoft.com/office/powerpoint/2010/main" val="21000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89DE4125-3BC5-723C-2199-5AF2E87F13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B50BBA-42E1-468F-A098-2D509D21E99E}"/>
              </a:ext>
            </a:extLst>
          </p:cNvPr>
          <p:cNvSpPr>
            <a:spLocks noGrp="1"/>
          </p:cNvSpPr>
          <p:nvPr>
            <p:ph type="title"/>
          </p:nvPr>
        </p:nvSpPr>
        <p:spPr>
          <a:xfrm>
            <a:off x="431800" y="532843"/>
            <a:ext cx="8280400" cy="567394"/>
          </a:xfrm>
        </p:spPr>
        <p:txBody>
          <a:bodyPr vert="horz"/>
          <a:lstStyle/>
          <a:p>
            <a:r>
              <a:rPr lang="en-US" dirty="0">
                <a:latin typeface="Verlag Bold" pitchFamily="2" charset="0"/>
              </a:rPr>
              <a:t>Despite a trend of losing movers to other states, Virginia’s loss of residents has begun to stabilize</a:t>
            </a:r>
          </a:p>
        </p:txBody>
      </p:sp>
      <p:graphicFrame>
        <p:nvGraphicFramePr>
          <p:cNvPr id="7" name="Chart Placeholder 8">
            <a:extLst>
              <a:ext uri="{FF2B5EF4-FFF2-40B4-BE49-F238E27FC236}">
                <a16:creationId xmlns:a16="http://schemas.microsoft.com/office/drawing/2014/main" id="{F0689B78-1E5E-42C0-BCCA-5CED594D3BE7}"/>
              </a:ext>
            </a:extLst>
          </p:cNvPr>
          <p:cNvGraphicFramePr>
            <a:graphicFrameLocks noGrp="1"/>
          </p:cNvGraphicFramePr>
          <p:nvPr>
            <p:ph type="chart" sz="quarter" idx="113"/>
            <p:extLst>
              <p:ext uri="{D42A27DB-BD31-4B8C-83A1-F6EECF244321}">
                <p14:modId xmlns:p14="http://schemas.microsoft.com/office/powerpoint/2010/main" val="3471901962"/>
              </p:ext>
            </p:extLst>
          </p:nvPr>
        </p:nvGraphicFramePr>
        <p:xfrm>
          <a:off x="431800" y="1735138"/>
          <a:ext cx="8280400" cy="4430712"/>
        </p:xfrm>
        <a:graphic>
          <a:graphicData uri="http://schemas.openxmlformats.org/drawingml/2006/chart">
            <c:chart xmlns:c="http://schemas.openxmlformats.org/drawingml/2006/chart" xmlns:r="http://schemas.openxmlformats.org/officeDocument/2006/relationships" r:id="rId5"/>
          </a:graphicData>
        </a:graphic>
      </p:graphicFrame>
      <p:sp>
        <p:nvSpPr>
          <p:cNvPr id="4" name="Subtitle 3">
            <a:extLst>
              <a:ext uri="{FF2B5EF4-FFF2-40B4-BE49-F238E27FC236}">
                <a16:creationId xmlns:a16="http://schemas.microsoft.com/office/drawing/2014/main" id="{D07148E8-C903-4155-AB81-A5AA3BF20E2C}"/>
              </a:ext>
            </a:extLst>
          </p:cNvPr>
          <p:cNvSpPr>
            <a:spLocks noGrp="1"/>
          </p:cNvSpPr>
          <p:nvPr>
            <p:ph type="subTitle" sz="quarter" idx="1000"/>
          </p:nvPr>
        </p:nvSpPr>
        <p:spPr>
          <a:xfrm>
            <a:off x="431800" y="5934182"/>
            <a:ext cx="7440613" cy="505508"/>
          </a:xfrm>
        </p:spPr>
        <p:txBody>
          <a:bodyPr/>
          <a:lstStyle/>
          <a:p>
            <a:r>
              <a:rPr lang="en-US" sz="1400" dirty="0"/>
              <a:t>Source: Census Bureau, Population Estimates Program</a:t>
            </a:r>
          </a:p>
        </p:txBody>
      </p:sp>
      <p:sp>
        <p:nvSpPr>
          <p:cNvPr id="5" name="Text Placeholder 4">
            <a:extLst>
              <a:ext uri="{FF2B5EF4-FFF2-40B4-BE49-F238E27FC236}">
                <a16:creationId xmlns:a16="http://schemas.microsoft.com/office/drawing/2014/main" id="{F915B568-11ED-42B4-B475-B65F7BDC25C3}"/>
              </a:ext>
            </a:extLst>
          </p:cNvPr>
          <p:cNvSpPr>
            <a:spLocks noGrp="1"/>
          </p:cNvSpPr>
          <p:nvPr>
            <p:ph type="body" sz="quarter" idx="108"/>
          </p:nvPr>
        </p:nvSpPr>
        <p:spPr>
          <a:xfrm>
            <a:off x="431800" y="1211494"/>
            <a:ext cx="2723502" cy="399750"/>
          </a:xfrm>
        </p:spPr>
        <p:txBody>
          <a:bodyPr/>
          <a:lstStyle/>
          <a:p>
            <a:r>
              <a:rPr lang="en-US" dirty="0"/>
              <a:t>Virginia net domestic in-migration</a:t>
            </a:r>
          </a:p>
          <a:p>
            <a:r>
              <a:rPr lang="en-US" b="0" dirty="0"/>
              <a:t>Net domestic in-migration, 2013 – 2021</a:t>
            </a:r>
          </a:p>
        </p:txBody>
      </p:sp>
      <p:sp>
        <p:nvSpPr>
          <p:cNvPr id="6" name="Slide Number Placeholder 5">
            <a:extLst>
              <a:ext uri="{FF2B5EF4-FFF2-40B4-BE49-F238E27FC236}">
                <a16:creationId xmlns:a16="http://schemas.microsoft.com/office/drawing/2014/main" id="{3412A7A5-6506-4898-B299-04B43FD0ECAF}"/>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39</a:t>
            </a:fld>
            <a:endParaRPr lang="en-US" sz="900" b="1" dirty="0">
              <a:solidFill>
                <a:schemeClr val="accent1"/>
              </a:solidFill>
              <a:latin typeface="Verlag Bold" pitchFamily="2" charset="0"/>
            </a:endParaRPr>
          </a:p>
        </p:txBody>
      </p:sp>
    </p:spTree>
    <p:extLst>
      <p:ext uri="{BB962C8B-B14F-4D97-AF65-F5344CB8AC3E}">
        <p14:creationId xmlns:p14="http://schemas.microsoft.com/office/powerpoint/2010/main" val="31591339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63A89F-3657-F4B0-6FA3-F52EECB39407}"/>
              </a:ext>
            </a:extLst>
          </p:cNvPr>
          <p:cNvGraphicFramePr>
            <a:graphicFrameLocks noChangeAspect="1"/>
          </p:cNvGraphicFramePr>
          <p:nvPr>
            <p:custDataLst>
              <p:tags r:id="rId1"/>
            </p:custDataLst>
            <p:extLst>
              <p:ext uri="{D42A27DB-BD31-4B8C-83A1-F6EECF244321}">
                <p14:modId xmlns:p14="http://schemas.microsoft.com/office/powerpoint/2010/main" val="1894561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3" name="Object 12" hidden="1">
                        <a:extLst>
                          <a:ext uri="{FF2B5EF4-FFF2-40B4-BE49-F238E27FC236}">
                            <a16:creationId xmlns:a16="http://schemas.microsoft.com/office/drawing/2014/main" id="{6F63A89F-3657-F4B0-6FA3-F52EECB39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28899" y="722234"/>
            <a:ext cx="8636367" cy="567394"/>
          </a:xfrm>
        </p:spPr>
        <p:txBody>
          <a:bodyPr vert="horz"/>
          <a:lstStyle/>
          <a:p>
            <a:r>
              <a:rPr lang="en-US" dirty="0">
                <a:latin typeface="Verlag Bold" pitchFamily="2" charset="0"/>
              </a:rPr>
              <a:t>Reliability, affordability, innovation, competition, and environmental stewardship will guide Virginia’s energy future</a:t>
            </a:r>
          </a:p>
        </p:txBody>
      </p:sp>
      <p:sp>
        <p:nvSpPr>
          <p:cNvPr id="4" name="Subtitle 3"/>
          <p:cNvSpPr>
            <a:spLocks noGrp="1"/>
          </p:cNvSpPr>
          <p:nvPr>
            <p:ph type="subTitle" sz="quarter" idx="1000"/>
          </p:nvPr>
        </p:nvSpPr>
        <p:spPr>
          <a:xfrm>
            <a:off x="431799" y="5896947"/>
            <a:ext cx="8280400" cy="809336"/>
          </a:xfrm>
        </p:spPr>
        <p:txBody>
          <a:bodyPr/>
          <a:lstStyle/>
          <a:p>
            <a:pPr marL="4763" lvl="1" indent="0">
              <a:buNone/>
            </a:pPr>
            <a:r>
              <a:rPr lang="en-US" sz="1400" dirty="0"/>
              <a:t>Source: Virginia Energy Plan (October 2022)</a:t>
            </a:r>
          </a:p>
        </p:txBody>
      </p:sp>
      <p:sp>
        <p:nvSpPr>
          <p:cNvPr id="6" name="Slide Number Placeholder 5"/>
          <p:cNvSpPr>
            <a:spLocks noGrp="1"/>
          </p:cNvSpPr>
          <p:nvPr>
            <p:ph type="sldNum" sz="quarter" idx="116"/>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40</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
        <p:nvSpPr>
          <p:cNvPr id="37" name="Rectangle 36">
            <a:extLst>
              <a:ext uri="{FF2B5EF4-FFF2-40B4-BE49-F238E27FC236}">
                <a16:creationId xmlns:a16="http://schemas.microsoft.com/office/drawing/2014/main" id="{D94FF5BF-2D44-48C5-830D-549C5ED747D1}"/>
              </a:ext>
            </a:extLst>
          </p:cNvPr>
          <p:cNvSpPr/>
          <p:nvPr/>
        </p:nvSpPr>
        <p:spPr>
          <a:xfrm>
            <a:off x="183732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A4A47A6-63E1-426F-A3BE-152D266BDA11}"/>
              </a:ext>
            </a:extLst>
          </p:cNvPr>
          <p:cNvSpPr/>
          <p:nvPr/>
        </p:nvSpPr>
        <p:spPr>
          <a:xfrm>
            <a:off x="264123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7B3A6C0F-4532-4B0A-80B5-ED6F0C6374CB}"/>
              </a:ext>
            </a:extLst>
          </p:cNvPr>
          <p:cNvSpPr/>
          <p:nvPr/>
        </p:nvSpPr>
        <p:spPr>
          <a:xfrm>
            <a:off x="1030891"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F95AF44F-E80F-96F8-61F2-8C6EEC13FBF8}"/>
              </a:ext>
            </a:extLst>
          </p:cNvPr>
          <p:cNvSpPr/>
          <p:nvPr/>
        </p:nvSpPr>
        <p:spPr>
          <a:xfrm>
            <a:off x="3451029" y="572989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C22076DB-7FB4-4EEE-E204-9F3FA09CD4D5}"/>
              </a:ext>
            </a:extLst>
          </p:cNvPr>
          <p:cNvSpPr/>
          <p:nvPr/>
        </p:nvSpPr>
        <p:spPr>
          <a:xfrm>
            <a:off x="4254939" y="578164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360FD103-297C-1F86-27B2-94AF8D6236F1}"/>
              </a:ext>
            </a:extLst>
          </p:cNvPr>
          <p:cNvSpPr/>
          <p:nvPr/>
        </p:nvSpPr>
        <p:spPr>
          <a:xfrm>
            <a:off x="5062062"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77F70986-6D31-7C47-A0DC-8287E7166DD4}"/>
              </a:ext>
            </a:extLst>
          </p:cNvPr>
          <p:cNvSpPr/>
          <p:nvPr/>
        </p:nvSpPr>
        <p:spPr>
          <a:xfrm>
            <a:off x="5846603"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AB63EDA9-9D48-6F99-FFC1-41D3FACF1256}"/>
              </a:ext>
            </a:extLst>
          </p:cNvPr>
          <p:cNvSpPr/>
          <p:nvPr/>
        </p:nvSpPr>
        <p:spPr>
          <a:xfrm>
            <a:off x="6650513"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descr="Graphical user interface, application, Word&#10;&#10;Description automatically generated">
            <a:extLst>
              <a:ext uri="{FF2B5EF4-FFF2-40B4-BE49-F238E27FC236}">
                <a16:creationId xmlns:a16="http://schemas.microsoft.com/office/drawing/2014/main" id="{9DD02747-AA1A-E205-EA46-4A1BE14B7188}"/>
              </a:ext>
            </a:extLst>
          </p:cNvPr>
          <p:cNvPicPr>
            <a:picLocks noChangeAspect="1"/>
          </p:cNvPicPr>
          <p:nvPr/>
        </p:nvPicPr>
        <p:blipFill rotWithShape="1">
          <a:blip r:embed="rId6">
            <a:extLst>
              <a:ext uri="{28A0092B-C50C-407E-A947-70E740481C1C}">
                <a14:useLocalDpi xmlns:a14="http://schemas.microsoft.com/office/drawing/2010/main" val="0"/>
              </a:ext>
            </a:extLst>
          </a:blip>
          <a:srcRect l="34455" t="32248" r="34776" b="22783"/>
          <a:stretch/>
        </p:blipFill>
        <p:spPr bwMode="auto">
          <a:xfrm>
            <a:off x="2167821" y="1613089"/>
            <a:ext cx="4808358" cy="380733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104133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63A89F-3657-F4B0-6FA3-F52EECB39407}"/>
              </a:ext>
            </a:extLst>
          </p:cNvPr>
          <p:cNvGraphicFramePr>
            <a:graphicFrameLocks noChangeAspect="1"/>
          </p:cNvGraphicFramePr>
          <p:nvPr>
            <p:custDataLst>
              <p:tags r:id="rId1"/>
            </p:custDataLst>
            <p:extLst>
              <p:ext uri="{D42A27DB-BD31-4B8C-83A1-F6EECF244321}">
                <p14:modId xmlns:p14="http://schemas.microsoft.com/office/powerpoint/2010/main" val="258517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3" name="Object 12" hidden="1">
                        <a:extLst>
                          <a:ext uri="{FF2B5EF4-FFF2-40B4-BE49-F238E27FC236}">
                            <a16:creationId xmlns:a16="http://schemas.microsoft.com/office/drawing/2014/main" id="{6F63A89F-3657-F4B0-6FA3-F52EECB39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32071" y="716373"/>
            <a:ext cx="8279855" cy="567394"/>
          </a:xfrm>
        </p:spPr>
        <p:txBody>
          <a:bodyPr vert="horz"/>
          <a:lstStyle/>
          <a:p>
            <a:r>
              <a:rPr lang="en-US" dirty="0">
                <a:latin typeface="Verlag Bold" pitchFamily="2" charset="0"/>
              </a:rPr>
              <a:t>The Commonwealth’s recent investments in broadband have cemented its status as a national leader in high-speed internet expansion</a:t>
            </a:r>
          </a:p>
        </p:txBody>
      </p:sp>
      <p:sp>
        <p:nvSpPr>
          <p:cNvPr id="26" name="Text Placeholder 4">
            <a:extLst>
              <a:ext uri="{FF2B5EF4-FFF2-40B4-BE49-F238E27FC236}">
                <a16:creationId xmlns:a16="http://schemas.microsoft.com/office/drawing/2014/main" id="{383D082C-F111-F22C-109C-3F32B948B401}"/>
              </a:ext>
            </a:extLst>
          </p:cNvPr>
          <p:cNvSpPr>
            <a:spLocks noGrp="1"/>
          </p:cNvSpPr>
          <p:nvPr>
            <p:ph type="body" sz="quarter" idx="108"/>
          </p:nvPr>
        </p:nvSpPr>
        <p:spPr>
          <a:xfrm>
            <a:off x="368028" y="1421042"/>
            <a:ext cx="5772734" cy="399750"/>
          </a:xfrm>
        </p:spPr>
        <p:txBody>
          <a:bodyPr/>
          <a:lstStyle/>
          <a:p>
            <a:r>
              <a:rPr lang="en-US" dirty="0"/>
              <a:t>Map of Virginia Telecommunication Initiative (VATI) projects funded in Virginia*</a:t>
            </a:r>
          </a:p>
          <a:p>
            <a:r>
              <a:rPr lang="en-US" b="0" dirty="0"/>
              <a:t>Since January 2021</a:t>
            </a:r>
          </a:p>
        </p:txBody>
      </p:sp>
      <p:sp>
        <p:nvSpPr>
          <p:cNvPr id="6" name="Slide Number Placeholder 5"/>
          <p:cNvSpPr>
            <a:spLocks noGrp="1"/>
          </p:cNvSpPr>
          <p:nvPr>
            <p:ph type="sldNum" sz="quarter" idx="116"/>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41</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
        <p:nvSpPr>
          <p:cNvPr id="37" name="Rectangle 36">
            <a:extLst>
              <a:ext uri="{FF2B5EF4-FFF2-40B4-BE49-F238E27FC236}">
                <a16:creationId xmlns:a16="http://schemas.microsoft.com/office/drawing/2014/main" id="{D94FF5BF-2D44-48C5-830D-549C5ED747D1}"/>
              </a:ext>
            </a:extLst>
          </p:cNvPr>
          <p:cNvSpPr/>
          <p:nvPr/>
        </p:nvSpPr>
        <p:spPr>
          <a:xfrm>
            <a:off x="183732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6A4A47A6-63E1-426F-A3BE-152D266BDA11}"/>
              </a:ext>
            </a:extLst>
          </p:cNvPr>
          <p:cNvSpPr/>
          <p:nvPr/>
        </p:nvSpPr>
        <p:spPr>
          <a:xfrm>
            <a:off x="264123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7B3A6C0F-4532-4B0A-80B5-ED6F0C6374CB}"/>
              </a:ext>
            </a:extLst>
          </p:cNvPr>
          <p:cNvSpPr/>
          <p:nvPr/>
        </p:nvSpPr>
        <p:spPr>
          <a:xfrm>
            <a:off x="1030891"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F95AF44F-E80F-96F8-61F2-8C6EEC13FBF8}"/>
              </a:ext>
            </a:extLst>
          </p:cNvPr>
          <p:cNvSpPr/>
          <p:nvPr/>
        </p:nvSpPr>
        <p:spPr>
          <a:xfrm>
            <a:off x="3451029" y="572989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C22076DB-7FB4-4EEE-E204-9F3FA09CD4D5}"/>
              </a:ext>
            </a:extLst>
          </p:cNvPr>
          <p:cNvSpPr/>
          <p:nvPr/>
        </p:nvSpPr>
        <p:spPr>
          <a:xfrm>
            <a:off x="4254939" y="578164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360FD103-297C-1F86-27B2-94AF8D6236F1}"/>
              </a:ext>
            </a:extLst>
          </p:cNvPr>
          <p:cNvSpPr/>
          <p:nvPr/>
        </p:nvSpPr>
        <p:spPr>
          <a:xfrm>
            <a:off x="5062062"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77F70986-6D31-7C47-A0DC-8287E7166DD4}"/>
              </a:ext>
            </a:extLst>
          </p:cNvPr>
          <p:cNvSpPr/>
          <p:nvPr/>
        </p:nvSpPr>
        <p:spPr>
          <a:xfrm>
            <a:off x="5846603"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AB63EDA9-9D48-6F99-FFC1-41D3FACF1256}"/>
              </a:ext>
            </a:extLst>
          </p:cNvPr>
          <p:cNvSpPr/>
          <p:nvPr/>
        </p:nvSpPr>
        <p:spPr>
          <a:xfrm>
            <a:off x="6650513" y="57687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2A771A60-9222-5FEA-E8EC-E9A8A402525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4493" t="33186" r="8510" b="8801"/>
          <a:stretch/>
        </p:blipFill>
        <p:spPr bwMode="auto">
          <a:xfrm>
            <a:off x="368028" y="1736873"/>
            <a:ext cx="8407942" cy="3943926"/>
          </a:xfrm>
          <a:prstGeom prst="rect">
            <a:avLst/>
          </a:prstGeom>
          <a:noFill/>
          <a:ln>
            <a:noFill/>
          </a:ln>
          <a:extLst>
            <a:ext uri="{53640926-AAD7-44D8-BBD7-CCE9431645EC}">
              <a14:shadowObscured xmlns:a14="http://schemas.microsoft.com/office/drawing/2010/main"/>
            </a:ext>
          </a:extLst>
        </p:spPr>
      </p:pic>
      <p:sp>
        <p:nvSpPr>
          <p:cNvPr id="28" name="TextBox 27">
            <a:extLst>
              <a:ext uri="{FF2B5EF4-FFF2-40B4-BE49-F238E27FC236}">
                <a16:creationId xmlns:a16="http://schemas.microsoft.com/office/drawing/2014/main" id="{977306CB-44D3-16E6-1F31-199F7AA8CDB0}"/>
              </a:ext>
            </a:extLst>
          </p:cNvPr>
          <p:cNvSpPr txBox="1"/>
          <p:nvPr/>
        </p:nvSpPr>
        <p:spPr>
          <a:xfrm>
            <a:off x="774700" y="5784521"/>
            <a:ext cx="7305964" cy="646331"/>
          </a:xfrm>
          <a:prstGeom prst="rect">
            <a:avLst/>
          </a:prstGeom>
        </p:spPr>
        <p:txBody>
          <a:bodyPr vert="horz" wrap="square" lIns="0" tIns="0" rIns="0" bIns="0" rtlCol="0" anchor="t">
            <a:spAutoFit/>
          </a:bodyPr>
          <a:lstStyle/>
          <a:p>
            <a:pPr algn="l"/>
            <a:r>
              <a:rPr lang="en-US" sz="1400" dirty="0">
                <a:latin typeface="Arial" charset="0"/>
                <a:ea typeface="Arial" charset="0"/>
                <a:cs typeface="Arial" charset="0"/>
              </a:rPr>
              <a:t>Source: Virginia Department of Housing and Community Development (October 2022) </a:t>
            </a:r>
          </a:p>
          <a:p>
            <a:pPr algn="l"/>
            <a:r>
              <a:rPr lang="en-US" sz="1400" dirty="0">
                <a:latin typeface="Arial" charset="0"/>
                <a:ea typeface="Arial" charset="0"/>
                <a:cs typeface="Arial" charset="0"/>
              </a:rPr>
              <a:t>*VATI projects under contract are shaded in color, while projects not yet under contract are shaded in grey</a:t>
            </a:r>
          </a:p>
        </p:txBody>
      </p:sp>
    </p:spTree>
    <p:extLst>
      <p:ext uri="{BB962C8B-B14F-4D97-AF65-F5344CB8AC3E}">
        <p14:creationId xmlns:p14="http://schemas.microsoft.com/office/powerpoint/2010/main" val="23758117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951C07-C2E6-34E8-A2C5-9562AD0137D6}"/>
              </a:ext>
            </a:extLst>
          </p:cNvPr>
          <p:cNvGraphicFramePr>
            <a:graphicFrameLocks noChangeAspect="1"/>
          </p:cNvGraphicFramePr>
          <p:nvPr>
            <p:custDataLst>
              <p:tags r:id="rId2"/>
            </p:custDataLst>
            <p:extLst>
              <p:ext uri="{D42A27DB-BD31-4B8C-83A1-F6EECF244321}">
                <p14:modId xmlns:p14="http://schemas.microsoft.com/office/powerpoint/2010/main" val="44714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9D951C07-C2E6-34E8-A2C5-9562AD0137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EA20FCF-9014-359B-400C-A3619A8AA2C0}"/>
              </a:ext>
            </a:extLst>
          </p:cNvPr>
          <p:cNvSpPr>
            <a:spLocks noGrp="1"/>
          </p:cNvSpPr>
          <p:nvPr>
            <p:ph type="title"/>
          </p:nvPr>
        </p:nvSpPr>
        <p:spPr/>
        <p:txBody>
          <a:bodyPr vert="horz"/>
          <a:lstStyle/>
          <a:p>
            <a:r>
              <a:rPr lang="en-US" dirty="0">
                <a:latin typeface="Verlag Bold" pitchFamily="2" charset="0"/>
              </a:rPr>
              <a:t>VIRGINIA’s COST OF LIVING CONTINUES TO TRAIL COMPETITOR STATES, EXPERIENCING MINIMIAL CHANGE SINCE 2018</a:t>
            </a:r>
          </a:p>
        </p:txBody>
      </p:sp>
      <p:sp>
        <p:nvSpPr>
          <p:cNvPr id="4" name="Subtitle 3">
            <a:extLst>
              <a:ext uri="{FF2B5EF4-FFF2-40B4-BE49-F238E27FC236}">
                <a16:creationId xmlns:a16="http://schemas.microsoft.com/office/drawing/2014/main" id="{781C86E4-837D-ABAA-C5C0-09721A86220B}"/>
              </a:ext>
            </a:extLst>
          </p:cNvPr>
          <p:cNvSpPr>
            <a:spLocks noGrp="1"/>
          </p:cNvSpPr>
          <p:nvPr>
            <p:ph type="subTitle" sz="quarter" idx="1000"/>
          </p:nvPr>
        </p:nvSpPr>
        <p:spPr/>
        <p:txBody>
          <a:bodyPr/>
          <a:lstStyle/>
          <a:p>
            <a:endParaRPr lang="en-US" dirty="0"/>
          </a:p>
        </p:txBody>
      </p:sp>
      <p:sp>
        <p:nvSpPr>
          <p:cNvPr id="5" name="Slide Number Placeholder 4">
            <a:extLst>
              <a:ext uri="{FF2B5EF4-FFF2-40B4-BE49-F238E27FC236}">
                <a16:creationId xmlns:a16="http://schemas.microsoft.com/office/drawing/2014/main" id="{EA6EFA06-10A7-0DAC-FE2F-2DB9C090A3F1}"/>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42</a:t>
            </a:fld>
            <a:endParaRPr lang="en-US" sz="900" b="1" dirty="0">
              <a:solidFill>
                <a:schemeClr val="accent1"/>
              </a:solidFill>
              <a:latin typeface="Verlag Bold" pitchFamily="2" charset="0"/>
            </a:endParaRPr>
          </a:p>
        </p:txBody>
      </p:sp>
      <p:graphicFrame>
        <p:nvGraphicFramePr>
          <p:cNvPr id="9" name="Content Placeholder 5">
            <a:extLst>
              <a:ext uri="{FF2B5EF4-FFF2-40B4-BE49-F238E27FC236}">
                <a16:creationId xmlns:a16="http://schemas.microsoft.com/office/drawing/2014/main" id="{37895A5C-557B-7C47-4992-423508D82F9A}"/>
              </a:ext>
            </a:extLst>
          </p:cNvPr>
          <p:cNvGraphicFramePr>
            <a:graphicFrameLocks/>
          </p:cNvGraphicFramePr>
          <p:nvPr>
            <p:extLst>
              <p:ext uri="{D42A27DB-BD31-4B8C-83A1-F6EECF244321}">
                <p14:modId xmlns:p14="http://schemas.microsoft.com/office/powerpoint/2010/main" val="2197621518"/>
              </p:ext>
            </p:extLst>
          </p:nvPr>
        </p:nvGraphicFramePr>
        <p:xfrm>
          <a:off x="431799" y="1107138"/>
          <a:ext cx="7947697" cy="3118064"/>
        </p:xfrm>
        <a:graphic>
          <a:graphicData uri="http://schemas.openxmlformats.org/drawingml/2006/table">
            <a:tbl>
              <a:tblPr firstRow="1"/>
              <a:tblGrid>
                <a:gridCol w="2091842">
                  <a:extLst>
                    <a:ext uri="{9D8B030D-6E8A-4147-A177-3AD203B41FA5}">
                      <a16:colId xmlns:a16="http://schemas.microsoft.com/office/drawing/2014/main" val="3634476122"/>
                    </a:ext>
                  </a:extLst>
                </a:gridCol>
                <a:gridCol w="1071418">
                  <a:extLst>
                    <a:ext uri="{9D8B030D-6E8A-4147-A177-3AD203B41FA5}">
                      <a16:colId xmlns:a16="http://schemas.microsoft.com/office/drawing/2014/main" val="3484772269"/>
                    </a:ext>
                  </a:extLst>
                </a:gridCol>
                <a:gridCol w="934122">
                  <a:extLst>
                    <a:ext uri="{9D8B030D-6E8A-4147-A177-3AD203B41FA5}">
                      <a16:colId xmlns:a16="http://schemas.microsoft.com/office/drawing/2014/main" val="882252230"/>
                    </a:ext>
                  </a:extLst>
                </a:gridCol>
                <a:gridCol w="1168003">
                  <a:extLst>
                    <a:ext uri="{9D8B030D-6E8A-4147-A177-3AD203B41FA5}">
                      <a16:colId xmlns:a16="http://schemas.microsoft.com/office/drawing/2014/main" val="786037782"/>
                    </a:ext>
                  </a:extLst>
                </a:gridCol>
                <a:gridCol w="1341156">
                  <a:extLst>
                    <a:ext uri="{9D8B030D-6E8A-4147-A177-3AD203B41FA5}">
                      <a16:colId xmlns:a16="http://schemas.microsoft.com/office/drawing/2014/main" val="641509711"/>
                    </a:ext>
                  </a:extLst>
                </a:gridCol>
                <a:gridCol w="1341156">
                  <a:extLst>
                    <a:ext uri="{9D8B030D-6E8A-4147-A177-3AD203B41FA5}">
                      <a16:colId xmlns:a16="http://schemas.microsoft.com/office/drawing/2014/main" val="141363149"/>
                    </a:ext>
                  </a:extLst>
                </a:gridCol>
              </a:tblGrid>
              <a:tr h="492232">
                <a:tc>
                  <a:txBody>
                    <a:bodyPr/>
                    <a:lstStyle/>
                    <a:p>
                      <a:pPr lvl="0" algn="ct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algn="ctr" defTabSz="914400" rtl="0" eaLnBrk="1" fontAlgn="ctr" latinLnBrk="0" hangingPunct="1"/>
                      <a:r>
                        <a:rPr lang="en-US" sz="1400" b="1" kern="1200" dirty="0">
                          <a:solidFill>
                            <a:schemeClr val="accent1"/>
                          </a:solidFill>
                          <a:effectLst/>
                          <a:latin typeface="Arial   "/>
                          <a:ea typeface="+mn-ea"/>
                          <a:cs typeface="+mn-cs"/>
                        </a:rPr>
                        <a:t>State Cost of Living Rankings</a:t>
                      </a:r>
                      <a:endParaRPr lang="en-US" sz="1400" b="1" kern="1200" baseline="300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400" b="1" kern="120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400" b="1" kern="120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400" b="1" kern="120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400" b="1" kern="120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0195494"/>
                  </a:ext>
                </a:extLst>
              </a:tr>
              <a:tr h="492232">
                <a:tc>
                  <a:txBody>
                    <a:bodyPr/>
                    <a:lstStyle/>
                    <a:p>
                      <a:pPr lvl="0" algn="ctr"/>
                      <a:r>
                        <a:rPr lang="en-US" sz="1400" b="1" kern="1200" dirty="0">
                          <a:solidFill>
                            <a:schemeClr val="accent1"/>
                          </a:solidFill>
                          <a:effectLst/>
                        </a:rPr>
                        <a:t>State</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kern="1200" dirty="0">
                          <a:solidFill>
                            <a:schemeClr val="accent1"/>
                          </a:solidFill>
                          <a:effectLst/>
                          <a:latin typeface="Arial   "/>
                          <a:ea typeface="+mn-ea"/>
                          <a:cs typeface="+mn-cs"/>
                        </a:rPr>
                        <a:t>2018</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latin typeface="Arial   "/>
                          <a:ea typeface="+mn-ea"/>
                          <a:cs typeface="+mn-cs"/>
                        </a:rPr>
                        <a:t>2019</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latin typeface="Arial   "/>
                          <a:ea typeface="+mn-ea"/>
                          <a:cs typeface="+mn-cs"/>
                        </a:rPr>
                        <a:t>2020</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latin typeface="Arial   "/>
                          <a:ea typeface="+mn-ea"/>
                          <a:cs typeface="+mn-cs"/>
                        </a:rPr>
                        <a:t>2021</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latin typeface="Arial   "/>
                          <a:ea typeface="+mn-ea"/>
                          <a:cs typeface="+mn-cs"/>
                        </a:rPr>
                        <a:t>2022</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2059228"/>
                  </a:ext>
                </a:extLst>
              </a:tr>
              <a:tr h="282378">
                <a:tc>
                  <a:txBody>
                    <a:bodyPr/>
                    <a:lstStyle/>
                    <a:p>
                      <a:pPr marL="0" algn="ctr" defTabSz="914400" rtl="0" eaLnBrk="1" fontAlgn="ctr" latinLnBrk="0" hangingPunct="1"/>
                      <a:r>
                        <a:rPr lang="en-US" sz="1400" b="1" u="none" strike="noStrike" kern="1200" dirty="0">
                          <a:solidFill>
                            <a:srgbClr val="000000"/>
                          </a:solidFill>
                          <a:effectLst/>
                        </a:rPr>
                        <a:t>Tennessee</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7979786"/>
                  </a:ext>
                </a:extLst>
              </a:tr>
              <a:tr h="282378">
                <a:tc>
                  <a:txBody>
                    <a:bodyPr/>
                    <a:lstStyle/>
                    <a:p>
                      <a:pPr marL="0" algn="ctr" defTabSz="914400" rtl="0" eaLnBrk="1" fontAlgn="ctr" latinLnBrk="0" hangingPunct="1"/>
                      <a:r>
                        <a:rPr lang="en-US" sz="1400" b="1" u="none" strike="noStrike" kern="1200" dirty="0">
                          <a:solidFill>
                            <a:srgbClr val="000000"/>
                          </a:solidFill>
                          <a:effectLst/>
                        </a:rPr>
                        <a:t>Georgia</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7739869"/>
                  </a:ext>
                </a:extLst>
              </a:tr>
              <a:tr h="282378">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North Caroli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1219142"/>
                  </a:ext>
                </a:extLst>
              </a:tr>
              <a:tr h="282378">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Tex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8614771"/>
                  </a:ext>
                </a:extLst>
              </a:tr>
              <a:tr h="282378">
                <a:tc>
                  <a:txBody>
                    <a:bodyPr/>
                    <a:lstStyle/>
                    <a:p>
                      <a:pPr marL="0" algn="ctr" defTabSz="914400" rtl="0" eaLnBrk="1" fontAlgn="ctr" latinLnBrk="0" hangingPunct="1"/>
                      <a:r>
                        <a:rPr lang="en-US" sz="1400" b="1" u="none" strike="noStrike" kern="1200" dirty="0">
                          <a:solidFill>
                            <a:srgbClr val="000000"/>
                          </a:solidFill>
                          <a:effectLst/>
                        </a:rPr>
                        <a:t>South Carolina</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362538"/>
                  </a:ext>
                </a:extLst>
              </a:tr>
              <a:tr h="282378">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Florid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007606"/>
                  </a:ext>
                </a:extLst>
              </a:tr>
              <a:tr h="282378">
                <a:tc>
                  <a:txBody>
                    <a:bodyPr/>
                    <a:lstStyle/>
                    <a:p>
                      <a:pPr marL="0" algn="ctr" defTabSz="914400" rtl="0" eaLnBrk="1" fontAlgn="ctr" latinLnBrk="0" hangingPunct="1"/>
                      <a:r>
                        <a:rPr lang="en-US" sz="1400" b="1" u="none" strike="noStrike" kern="1200" dirty="0">
                          <a:solidFill>
                            <a:schemeClr val="bg1"/>
                          </a:solidFill>
                          <a:effectLst/>
                        </a:rPr>
                        <a:t>Virginia</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mn-cs"/>
                        </a:rPr>
                        <a:t>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mn-cs"/>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mn-cs"/>
                        </a:rPr>
                        <a:t>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mn-cs"/>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mn-cs"/>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881028999"/>
                  </a:ext>
                </a:extLst>
              </a:tr>
            </a:tbl>
          </a:graphicData>
        </a:graphic>
      </p:graphicFrame>
      <p:sp>
        <p:nvSpPr>
          <p:cNvPr id="21" name="Subtitle 9">
            <a:extLst>
              <a:ext uri="{FF2B5EF4-FFF2-40B4-BE49-F238E27FC236}">
                <a16:creationId xmlns:a16="http://schemas.microsoft.com/office/drawing/2014/main" id="{57F6D372-844D-2FD6-0931-07F48E764B8D}"/>
              </a:ext>
            </a:extLst>
          </p:cNvPr>
          <p:cNvSpPr txBox="1">
            <a:spLocks/>
          </p:cNvSpPr>
          <p:nvPr/>
        </p:nvSpPr>
        <p:spPr>
          <a:xfrm>
            <a:off x="519446" y="4454726"/>
            <a:ext cx="7440613" cy="505508"/>
          </a:xfrm>
          <a:prstGeom prst="rect">
            <a:avLst/>
          </a:prstGeom>
        </p:spPr>
        <p:txBody>
          <a:bodyPr vert="horz" lIns="0" tIns="0" rIns="0" bIns="0" rtlCol="0" anchor="b">
            <a:noAutofit/>
          </a:bodyPr>
          <a:lstStyle>
            <a:lvl1pPr marL="6350" marR="0" indent="-1588" algn="l" defTabSz="914400" rtl="0" eaLnBrk="1" fontAlgn="auto" latinLnBrk="0" hangingPunct="1">
              <a:lnSpc>
                <a:spcPct val="90000"/>
              </a:lnSpc>
              <a:spcBef>
                <a:spcPts val="75"/>
              </a:spcBef>
              <a:spcAft>
                <a:spcPts val="75"/>
              </a:spcAft>
              <a:buClrTx/>
              <a:buSzPct val="100000"/>
              <a:buFontTx/>
              <a:buNone/>
              <a:tabLst/>
              <a:defRPr sz="1100" b="0" kern="1200">
                <a:solidFill>
                  <a:schemeClr val="tx1"/>
                </a:solidFill>
                <a:latin typeface="+mn-lt"/>
                <a:ea typeface="+mn-ea"/>
                <a:cs typeface="+mn-cs"/>
              </a:defRPr>
            </a:lvl1pPr>
            <a:lvl2pPr marL="55563" indent="-50800" algn="l" defTabSz="914400" rtl="0" eaLnBrk="1" latinLnBrk="0" hangingPunct="1">
              <a:lnSpc>
                <a:spcPct val="90000"/>
              </a:lnSpc>
              <a:spcBef>
                <a:spcPts val="75"/>
              </a:spcBef>
              <a:spcAft>
                <a:spcPts val="75"/>
              </a:spcAft>
              <a:buSzPct val="100000"/>
              <a:buFont typeface="System Font Regular"/>
              <a:buChar char="¹"/>
              <a:tabLst/>
              <a:defRPr sz="1100" b="0" i="0" kern="1200">
                <a:solidFill>
                  <a:schemeClr val="tx1"/>
                </a:solidFill>
                <a:latin typeface="+mn-lt"/>
                <a:ea typeface="+mn-ea"/>
                <a:cs typeface="+mn-cs"/>
              </a:defRPr>
            </a:lvl2pPr>
            <a:lvl3pPr marL="55563" indent="-50800" algn="l" defTabSz="914400" rtl="0" eaLnBrk="1" latinLnBrk="0" hangingPunct="1">
              <a:lnSpc>
                <a:spcPct val="90000"/>
              </a:lnSpc>
              <a:spcBef>
                <a:spcPts val="75"/>
              </a:spcBef>
              <a:spcAft>
                <a:spcPts val="75"/>
              </a:spcAft>
              <a:buSzPct val="100000"/>
              <a:buFont typeface="System Font Regular"/>
              <a:buChar char="²"/>
              <a:tabLst/>
              <a:defRPr sz="1100" kern="1200">
                <a:solidFill>
                  <a:schemeClr val="tx1"/>
                </a:solidFill>
                <a:latin typeface="+mn-lt"/>
                <a:ea typeface="+mn-ea"/>
                <a:cs typeface="+mn-cs"/>
              </a:defRPr>
            </a:lvl3pPr>
            <a:lvl4pPr marL="55563" indent="-50800" algn="l" defTabSz="914400" rtl="0" eaLnBrk="1" latinLnBrk="0" hangingPunct="1">
              <a:lnSpc>
                <a:spcPct val="90000"/>
              </a:lnSpc>
              <a:spcBef>
                <a:spcPts val="75"/>
              </a:spcBef>
              <a:spcAft>
                <a:spcPts val="75"/>
              </a:spcAft>
              <a:buSzPct val="100000"/>
              <a:buFont typeface="System Font Regular"/>
              <a:buChar char="³"/>
              <a:tabLst/>
              <a:defRPr sz="1100" kern="1200">
                <a:solidFill>
                  <a:schemeClr val="tx1"/>
                </a:solidFill>
                <a:latin typeface="+mn-lt"/>
                <a:ea typeface="+mn-ea"/>
                <a:cs typeface="+mn-cs"/>
              </a:defRPr>
            </a:lvl4pPr>
            <a:lvl5pPr marL="55563" indent="-50800" algn="l" defTabSz="914400" rtl="0" eaLnBrk="1" latinLnBrk="0" hangingPunct="1">
              <a:lnSpc>
                <a:spcPct val="90000"/>
              </a:lnSpc>
              <a:spcBef>
                <a:spcPts val="75"/>
              </a:spcBef>
              <a:spcAft>
                <a:spcPts val="75"/>
              </a:spcAft>
              <a:buSzPct val="100000"/>
              <a:buFont typeface="System Font Regular"/>
              <a:buChar char="⁴"/>
              <a:tabLst/>
              <a:defRPr sz="1100" kern="1200">
                <a:solidFill>
                  <a:schemeClr val="tx1"/>
                </a:solidFill>
                <a:latin typeface="+mn-lt"/>
                <a:ea typeface="+mn-ea"/>
                <a:cs typeface="+mn-cs"/>
              </a:defRPr>
            </a:lvl5pPr>
            <a:lvl6pPr marL="55563" indent="-50800" algn="l" defTabSz="914400" rtl="0" eaLnBrk="1" latinLnBrk="0" hangingPunct="1">
              <a:lnSpc>
                <a:spcPct val="90000"/>
              </a:lnSpc>
              <a:spcBef>
                <a:spcPts val="75"/>
              </a:spcBef>
              <a:spcAft>
                <a:spcPts val="75"/>
              </a:spcAft>
              <a:buSzPct val="100000"/>
              <a:buFont typeface="System Font Regular"/>
              <a:buChar char="⁵"/>
              <a:tabLst/>
              <a:defRPr sz="1100" kern="1200">
                <a:solidFill>
                  <a:schemeClr val="tx1"/>
                </a:solidFill>
                <a:latin typeface="+mn-lt"/>
                <a:ea typeface="+mn-ea"/>
                <a:cs typeface="+mn-cs"/>
              </a:defRPr>
            </a:lvl6pPr>
            <a:lvl7pPr marL="55563" indent="-50800" algn="l" defTabSz="914400" rtl="0" eaLnBrk="1" latinLnBrk="0" hangingPunct="1">
              <a:lnSpc>
                <a:spcPct val="90000"/>
              </a:lnSpc>
              <a:spcBef>
                <a:spcPts val="75"/>
              </a:spcBef>
              <a:spcAft>
                <a:spcPts val="75"/>
              </a:spcAft>
              <a:buSzPct val="100000"/>
              <a:buFont typeface="System Font Regular"/>
              <a:buChar char="⁶"/>
              <a:tabLst/>
              <a:defRPr sz="1100" kern="1200">
                <a:solidFill>
                  <a:schemeClr val="tx1"/>
                </a:solidFill>
                <a:latin typeface="+mn-lt"/>
                <a:ea typeface="+mn-ea"/>
                <a:cs typeface="+mn-cs"/>
              </a:defRPr>
            </a:lvl7pPr>
            <a:lvl8pPr marL="55563" indent="-50800" algn="l" defTabSz="914400" rtl="0" eaLnBrk="1" latinLnBrk="0" hangingPunct="1">
              <a:lnSpc>
                <a:spcPct val="90000"/>
              </a:lnSpc>
              <a:spcBef>
                <a:spcPts val="75"/>
              </a:spcBef>
              <a:spcAft>
                <a:spcPts val="75"/>
              </a:spcAft>
              <a:buSzPct val="100000"/>
              <a:buFont typeface="System Font Regular"/>
              <a:buChar char="⁷"/>
              <a:tabLst/>
              <a:defRPr sz="1100" kern="1200">
                <a:solidFill>
                  <a:schemeClr val="tx1"/>
                </a:solidFill>
                <a:latin typeface="+mn-lt"/>
                <a:ea typeface="+mn-ea"/>
                <a:cs typeface="+mn-cs"/>
              </a:defRPr>
            </a:lvl8pPr>
            <a:lvl9pPr marL="55563" indent="-50800" algn="l" defTabSz="914400" rtl="0" eaLnBrk="1" latinLnBrk="0" hangingPunct="1">
              <a:lnSpc>
                <a:spcPct val="90000"/>
              </a:lnSpc>
              <a:spcBef>
                <a:spcPts val="75"/>
              </a:spcBef>
              <a:spcAft>
                <a:spcPts val="75"/>
              </a:spcAft>
              <a:buSzPct val="100000"/>
              <a:buFont typeface="System Font Regular"/>
              <a:buChar char="⁸"/>
              <a:tabLst/>
              <a:defRPr sz="1100" kern="1200">
                <a:solidFill>
                  <a:schemeClr val="tx1"/>
                </a:solidFill>
                <a:latin typeface="+mn-lt"/>
                <a:ea typeface="+mn-ea"/>
                <a:cs typeface="+mn-cs"/>
              </a:defRPr>
            </a:lvl9pPr>
          </a:lstStyle>
          <a:p>
            <a:pPr>
              <a:defRPr/>
            </a:pPr>
            <a:r>
              <a:rPr lang="en-US" sz="1400" dirty="0">
                <a:solidFill>
                  <a:srgbClr val="000000"/>
                </a:solidFill>
                <a:latin typeface="Arial" panose="020B0604020202020204"/>
              </a:rPr>
              <a:t>Source: Council for Community and Economic Research (C2ER) Cost of Living Indexes (2018 – 2022)</a:t>
            </a:r>
            <a:endParaRPr lang="en-US" dirty="0"/>
          </a:p>
          <a:p>
            <a:pPr lvl="1"/>
            <a:r>
              <a:rPr lang="en-US" dirty="0"/>
              <a:t>Rankings closer to one reflect a lower cost of living</a:t>
            </a:r>
          </a:p>
        </p:txBody>
      </p:sp>
    </p:spTree>
    <p:extLst>
      <p:ext uri="{BB962C8B-B14F-4D97-AF65-F5344CB8AC3E}">
        <p14:creationId xmlns:p14="http://schemas.microsoft.com/office/powerpoint/2010/main" val="3845148101"/>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20911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1" name="Object 10"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431800" y="571105"/>
            <a:ext cx="8280400" cy="567394"/>
          </a:xfrm>
        </p:spPr>
        <p:txBody>
          <a:bodyPr vert="horz"/>
          <a:lstStyle/>
          <a:p>
            <a:r>
              <a:rPr lang="en-US" dirty="0">
                <a:latin typeface="Verlag Bold" pitchFamily="2" charset="0"/>
              </a:rPr>
              <a:t>Virginia’s peer states have more competitive tax environments for new firms</a:t>
            </a:r>
            <a:endParaRPr lang="en-US" dirty="0">
              <a:highlight>
                <a:srgbClr val="FFFF00"/>
              </a:highlight>
              <a:latin typeface="Verlag Bold" pitchFamily="2" charset="0"/>
            </a:endParaRPr>
          </a:p>
        </p:txBody>
      </p:sp>
      <p:sp>
        <p:nvSpPr>
          <p:cNvPr id="10" name="Subtitle 9"/>
          <p:cNvSpPr>
            <a:spLocks noGrp="1"/>
          </p:cNvSpPr>
          <p:nvPr>
            <p:ph type="subTitle" sz="quarter" idx="1000"/>
          </p:nvPr>
        </p:nvSpPr>
        <p:spPr>
          <a:xfrm>
            <a:off x="431798" y="5114137"/>
            <a:ext cx="4509201" cy="418695"/>
          </a:xfrm>
        </p:spPr>
        <p:txBody>
          <a:bodyPr vert="horz" lIns="0" tIns="0" rIns="0" bIns="0" rtlCol="0" anchor="b">
            <a:noAutofit/>
          </a:bodyPr>
          <a:lstStyle/>
          <a:p>
            <a:pPr marL="6350" marR="0" lvl="0" indent="-1588" algn="l" defTabSz="914400" rtl="0" eaLnBrk="1" fontAlgn="auto" latinLnBrk="0" hangingPunct="1">
              <a:lnSpc>
                <a:spcPct val="90000"/>
              </a:lnSpc>
              <a:spcBef>
                <a:spcPts val="75"/>
              </a:spcBef>
              <a:spcAft>
                <a:spcPts val="75"/>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ource: Tax Foundation, 2021 Location Matters Report</a:t>
            </a:r>
          </a:p>
          <a:p>
            <a:pPr lvl="1"/>
            <a:r>
              <a:rPr lang="en-US" dirty="0"/>
              <a:t>Rankings closer to one reflect a lower estimated tax burden</a:t>
            </a:r>
          </a:p>
        </p:txBody>
      </p:sp>
      <p:sp>
        <p:nvSpPr>
          <p:cNvPr id="3" name="Slide Number Placeholder 2">
            <a:extLst>
              <a:ext uri="{FF2B5EF4-FFF2-40B4-BE49-F238E27FC236}">
                <a16:creationId xmlns:a16="http://schemas.microsoft.com/office/drawing/2014/main" id="{2A7F4E72-D080-6F74-D03F-D40E8EF020C5}"/>
              </a:ext>
            </a:extLst>
          </p:cNvPr>
          <p:cNvSpPr>
            <a:spLocks noGrp="1"/>
          </p:cNvSpPr>
          <p:nvPr>
            <p:ph type="sldNum" sz="quarter" idx="107"/>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43</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graphicFrame>
        <p:nvGraphicFramePr>
          <p:cNvPr id="4" name="Content Placeholder 5">
            <a:extLst>
              <a:ext uri="{FF2B5EF4-FFF2-40B4-BE49-F238E27FC236}">
                <a16:creationId xmlns:a16="http://schemas.microsoft.com/office/drawing/2014/main" id="{94BCBC64-0333-37F8-125B-E8308A458514}"/>
              </a:ext>
            </a:extLst>
          </p:cNvPr>
          <p:cNvGraphicFramePr>
            <a:graphicFrameLocks/>
          </p:cNvGraphicFramePr>
          <p:nvPr>
            <p:extLst>
              <p:ext uri="{D42A27DB-BD31-4B8C-83A1-F6EECF244321}">
                <p14:modId xmlns:p14="http://schemas.microsoft.com/office/powerpoint/2010/main" val="3141137160"/>
              </p:ext>
            </p:extLst>
          </p:nvPr>
        </p:nvGraphicFramePr>
        <p:xfrm>
          <a:off x="431798" y="2103120"/>
          <a:ext cx="8358518" cy="2651760"/>
        </p:xfrm>
        <a:graphic>
          <a:graphicData uri="http://schemas.openxmlformats.org/drawingml/2006/table">
            <a:tbl>
              <a:tblPr firstRow="1"/>
              <a:tblGrid>
                <a:gridCol w="665480">
                  <a:extLst>
                    <a:ext uri="{9D8B030D-6E8A-4147-A177-3AD203B41FA5}">
                      <a16:colId xmlns:a16="http://schemas.microsoft.com/office/drawing/2014/main" val="3634476122"/>
                    </a:ext>
                  </a:extLst>
                </a:gridCol>
                <a:gridCol w="1177835">
                  <a:extLst>
                    <a:ext uri="{9D8B030D-6E8A-4147-A177-3AD203B41FA5}">
                      <a16:colId xmlns:a16="http://schemas.microsoft.com/office/drawing/2014/main" val="3484772269"/>
                    </a:ext>
                  </a:extLst>
                </a:gridCol>
                <a:gridCol w="729343">
                  <a:extLst>
                    <a:ext uri="{9D8B030D-6E8A-4147-A177-3AD203B41FA5}">
                      <a16:colId xmlns:a16="http://schemas.microsoft.com/office/drawing/2014/main" val="882252230"/>
                    </a:ext>
                  </a:extLst>
                </a:gridCol>
                <a:gridCol w="733368">
                  <a:extLst>
                    <a:ext uri="{9D8B030D-6E8A-4147-A177-3AD203B41FA5}">
                      <a16:colId xmlns:a16="http://schemas.microsoft.com/office/drawing/2014/main" val="786037782"/>
                    </a:ext>
                  </a:extLst>
                </a:gridCol>
                <a:gridCol w="842082">
                  <a:extLst>
                    <a:ext uri="{9D8B030D-6E8A-4147-A177-3AD203B41FA5}">
                      <a16:colId xmlns:a16="http://schemas.microsoft.com/office/drawing/2014/main" val="641509711"/>
                    </a:ext>
                  </a:extLst>
                </a:gridCol>
                <a:gridCol w="842082">
                  <a:extLst>
                    <a:ext uri="{9D8B030D-6E8A-4147-A177-3AD203B41FA5}">
                      <a16:colId xmlns:a16="http://schemas.microsoft.com/office/drawing/2014/main" val="141363149"/>
                    </a:ext>
                  </a:extLst>
                </a:gridCol>
                <a:gridCol w="842082">
                  <a:extLst>
                    <a:ext uri="{9D8B030D-6E8A-4147-A177-3AD203B41FA5}">
                      <a16:colId xmlns:a16="http://schemas.microsoft.com/office/drawing/2014/main" val="1457493836"/>
                    </a:ext>
                  </a:extLst>
                </a:gridCol>
                <a:gridCol w="842082">
                  <a:extLst>
                    <a:ext uri="{9D8B030D-6E8A-4147-A177-3AD203B41FA5}">
                      <a16:colId xmlns:a16="http://schemas.microsoft.com/office/drawing/2014/main" val="3037985988"/>
                    </a:ext>
                  </a:extLst>
                </a:gridCol>
                <a:gridCol w="742447">
                  <a:extLst>
                    <a:ext uri="{9D8B030D-6E8A-4147-A177-3AD203B41FA5}">
                      <a16:colId xmlns:a16="http://schemas.microsoft.com/office/drawing/2014/main" val="178131608"/>
                    </a:ext>
                  </a:extLst>
                </a:gridCol>
                <a:gridCol w="941717">
                  <a:extLst>
                    <a:ext uri="{9D8B030D-6E8A-4147-A177-3AD203B41FA5}">
                      <a16:colId xmlns:a16="http://schemas.microsoft.com/office/drawing/2014/main" val="697245774"/>
                    </a:ext>
                  </a:extLst>
                </a:gridCol>
              </a:tblGrid>
              <a:tr h="492232">
                <a:tc>
                  <a:txBody>
                    <a:bodyPr/>
                    <a:lstStyle/>
                    <a:p>
                      <a:pPr lvl="0" algn="ctr"/>
                      <a:r>
                        <a:rPr lang="en-US" sz="1400" b="1" kern="1200" dirty="0">
                          <a:solidFill>
                            <a:schemeClr val="accent1"/>
                          </a:solidFill>
                          <a:effectLst/>
                        </a:rPr>
                        <a:t>State</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New Firm Avg. Rank</a:t>
                      </a:r>
                      <a:r>
                        <a:rPr lang="en-US" sz="1400" b="1" kern="1200" baseline="30000" dirty="0">
                          <a:solidFill>
                            <a:schemeClr val="accent1"/>
                          </a:solidFill>
                          <a:effectLst/>
                        </a:rPr>
                        <a:t>1</a:t>
                      </a:r>
                      <a:endParaRPr lang="en-US" sz="1400" b="1" kern="1200" baseline="300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Corp. HQ</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R&amp;D</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Tech Center</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Data Center</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Distr. </a:t>
                      </a:r>
                    </a:p>
                    <a:p>
                      <a:pPr algn="ctr" fontAlgn="ctr"/>
                      <a:r>
                        <a:rPr lang="en-US" sz="1400" b="1" kern="1200" dirty="0">
                          <a:solidFill>
                            <a:schemeClr val="accent1"/>
                          </a:solidFill>
                          <a:effectLst/>
                        </a:rPr>
                        <a:t>Center</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Capital Mfg.</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Labor Mfg.</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1" kern="1200" dirty="0">
                          <a:solidFill>
                            <a:schemeClr val="accent1"/>
                          </a:solidFill>
                          <a:effectLst/>
                        </a:rPr>
                        <a:t>Shared Services</a:t>
                      </a:r>
                      <a:endParaRPr lang="en-US" sz="1400" b="1" kern="1200" dirty="0">
                        <a:solidFill>
                          <a:schemeClr val="accent1"/>
                        </a:solidFill>
                        <a:effectLst/>
                        <a:latin typeface="Arial   "/>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2059228"/>
                  </a:ext>
                </a:extLst>
              </a:tr>
              <a:tr h="282378">
                <a:tc>
                  <a:txBody>
                    <a:bodyPr/>
                    <a:lstStyle/>
                    <a:p>
                      <a:pPr marL="0" algn="ctr" defTabSz="914400" rtl="0" eaLnBrk="1" fontAlgn="ctr" latinLnBrk="0" hangingPunct="1"/>
                      <a:r>
                        <a:rPr lang="en-US" sz="1400" b="1" u="none" strike="noStrike" kern="1200" dirty="0">
                          <a:solidFill>
                            <a:srgbClr val="000000"/>
                          </a:solidFill>
                          <a:effectLst/>
                        </a:rPr>
                        <a:t>NC</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u="none" strike="noStrike" kern="1200" dirty="0">
                          <a:solidFill>
                            <a:srgbClr val="000000"/>
                          </a:solidFill>
                          <a:effectLst/>
                        </a:rPr>
                        <a:t>11</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5</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1</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9</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9</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8</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3</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7979786"/>
                  </a:ext>
                </a:extLst>
              </a:tr>
              <a:tr h="282378">
                <a:tc>
                  <a:txBody>
                    <a:bodyPr/>
                    <a:lstStyle/>
                    <a:p>
                      <a:pPr marL="0" algn="ctr" defTabSz="914400" rtl="0" eaLnBrk="1" fontAlgn="ctr" latinLnBrk="0" hangingPunct="1"/>
                      <a:r>
                        <a:rPr lang="en-US" sz="1400" b="1" u="none" strike="noStrike" kern="1200" dirty="0">
                          <a:solidFill>
                            <a:srgbClr val="000000"/>
                          </a:solidFill>
                          <a:effectLst/>
                        </a:rPr>
                        <a:t>GA</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u="none" strike="noStrike" kern="1200" dirty="0">
                          <a:solidFill>
                            <a:srgbClr val="000000"/>
                          </a:solidFill>
                          <a:effectLst/>
                        </a:rPr>
                        <a:t>12</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9</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7</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2</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1</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6</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7739869"/>
                  </a:ext>
                </a:extLst>
              </a:tr>
              <a:tr h="282378">
                <a:tc>
                  <a:txBody>
                    <a:bodyPr/>
                    <a:lstStyle/>
                    <a:p>
                      <a:pPr marL="0" algn="ctr" defTabSz="914400" rtl="0" eaLnBrk="1" fontAlgn="ctr" latinLnBrk="0" hangingPunct="1"/>
                      <a:r>
                        <a:rPr lang="en-US" sz="1400" b="1" u="none" strike="noStrike" kern="1200" dirty="0">
                          <a:solidFill>
                            <a:srgbClr val="000000"/>
                          </a:solidFill>
                          <a:effectLst/>
                        </a:rPr>
                        <a:t>TN</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u="none" strike="noStrike" kern="1200" dirty="0">
                          <a:solidFill>
                            <a:srgbClr val="000000"/>
                          </a:solidFill>
                          <a:effectLst/>
                        </a:rPr>
                        <a:t>20</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1</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8</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7</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6</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8</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362538"/>
                  </a:ext>
                </a:extLst>
              </a:tr>
              <a:tr h="282378">
                <a:tc>
                  <a:txBody>
                    <a:bodyPr/>
                    <a:lstStyle/>
                    <a:p>
                      <a:pPr marL="0" algn="ctr" defTabSz="914400" rtl="0" eaLnBrk="1" fontAlgn="ctr" latinLnBrk="0" hangingPunct="1"/>
                      <a:r>
                        <a:rPr lang="en-US" sz="1400" b="1" u="none" strike="noStrike" kern="1200" dirty="0">
                          <a:solidFill>
                            <a:schemeClr val="bg1"/>
                          </a:solidFill>
                          <a:effectLst/>
                        </a:rPr>
                        <a:t>VA</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25</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21</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40</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40</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26</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20</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15</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12</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fontAlgn="ctr" latinLnBrk="0" hangingPunct="1"/>
                      <a:r>
                        <a:rPr lang="en-US" sz="1400" b="1" u="none" strike="noStrike" kern="1200" dirty="0">
                          <a:solidFill>
                            <a:schemeClr val="bg1"/>
                          </a:solidFill>
                          <a:effectLst/>
                        </a:rPr>
                        <a:t>23</a:t>
                      </a:r>
                      <a:endParaRPr lang="en-US" sz="1400" b="1" i="0" u="none" strike="noStrike" kern="1200" dirty="0">
                        <a:solidFill>
                          <a:schemeClr val="bg1"/>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881028999"/>
                  </a:ext>
                </a:extLst>
              </a:tr>
              <a:tr h="282378">
                <a:tc>
                  <a:txBody>
                    <a:bodyPr/>
                    <a:lstStyle/>
                    <a:p>
                      <a:pPr marL="0" algn="ctr" defTabSz="914400" rtl="0" eaLnBrk="1" fontAlgn="ctr" latinLnBrk="0" hangingPunct="1"/>
                      <a:r>
                        <a:rPr lang="en-US" sz="1400" b="1" u="none" strike="noStrike" kern="1200" dirty="0">
                          <a:solidFill>
                            <a:srgbClr val="000000"/>
                          </a:solidFill>
                          <a:effectLst/>
                        </a:rPr>
                        <a:t>SC</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u="none" strike="noStrike" kern="1200" dirty="0">
                          <a:solidFill>
                            <a:srgbClr val="000000"/>
                          </a:solidFill>
                          <a:effectLst/>
                        </a:rPr>
                        <a:t>34</a:t>
                      </a:r>
                      <a:endParaRPr lang="en-US" sz="1400" b="1"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5</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46</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9</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42</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43</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39</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10</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u="none" strike="noStrike" kern="1200" dirty="0">
                          <a:solidFill>
                            <a:srgbClr val="000000"/>
                          </a:solidFill>
                          <a:effectLst/>
                        </a:rPr>
                        <a:t>28</a:t>
                      </a:r>
                      <a:endParaRPr lang="en-US" sz="14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8678622"/>
                  </a:ext>
                </a:extLst>
              </a:tr>
              <a:tr h="282378">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F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3061927"/>
                  </a:ext>
                </a:extLst>
              </a:tr>
              <a:tr h="282378">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T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4345386"/>
                  </a:ext>
                </a:extLst>
              </a:tr>
            </a:tbl>
          </a:graphicData>
        </a:graphic>
      </p:graphicFrame>
      <p:sp>
        <p:nvSpPr>
          <p:cNvPr id="15" name="TextBox 14">
            <a:extLst>
              <a:ext uri="{FF2B5EF4-FFF2-40B4-BE49-F238E27FC236}">
                <a16:creationId xmlns:a16="http://schemas.microsoft.com/office/drawing/2014/main" id="{D7753EC1-7047-6E5E-6601-CA8238F83E82}"/>
              </a:ext>
            </a:extLst>
          </p:cNvPr>
          <p:cNvSpPr txBox="1"/>
          <p:nvPr/>
        </p:nvSpPr>
        <p:spPr>
          <a:xfrm>
            <a:off x="431798" y="1558452"/>
            <a:ext cx="3894849" cy="220727"/>
          </a:xfrm>
          <a:prstGeom prst="rect">
            <a:avLst/>
          </a:prstGeom>
          <a:blipFill dpi="0" rotWithShape="1">
            <a:blip r:embed="rId5"/>
            <a:srcRect/>
            <a:tile tx="0" ty="0" sx="100000" sy="100000" flip="xy" algn="b"/>
          </a:blipFill>
          <a:effectLst/>
        </p:spPr>
        <p:txBody>
          <a:bodyPr vert="horz" wrap="none" lIns="0" tIns="0" rIns="0" bIns="54000" rtlCol="0" anchor="b">
            <a:spAutoFit/>
          </a:bodyPr>
          <a:lstStyle>
            <a:defPPr>
              <a:defRPr lang="en-US"/>
            </a:defPPr>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r>
              <a:rPr lang="en-US" dirty="0"/>
              <a:t>Virginia’s tax competitiveness rankings for new firms</a:t>
            </a:r>
          </a:p>
        </p:txBody>
      </p:sp>
    </p:spTree>
    <p:extLst>
      <p:ext uri="{BB962C8B-B14F-4D97-AF65-F5344CB8AC3E}">
        <p14:creationId xmlns:p14="http://schemas.microsoft.com/office/powerpoint/2010/main" val="356427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D1655AD-0F8D-AE8E-8B54-54B8463EDCCB}"/>
              </a:ext>
            </a:extLst>
          </p:cNvPr>
          <p:cNvGraphicFramePr>
            <a:graphicFrameLocks noChangeAspect="1"/>
          </p:cNvGraphicFramePr>
          <p:nvPr>
            <p:custDataLst>
              <p:tags r:id="rId2"/>
            </p:custDataLst>
            <p:extLst>
              <p:ext uri="{D42A27DB-BD31-4B8C-83A1-F6EECF244321}">
                <p14:modId xmlns:p14="http://schemas.microsoft.com/office/powerpoint/2010/main" val="2995027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6D1655AD-0F8D-AE8E-8B54-54B8463EDC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 name="Table 12">
            <a:extLst>
              <a:ext uri="{FF2B5EF4-FFF2-40B4-BE49-F238E27FC236}">
                <a16:creationId xmlns:a16="http://schemas.microsoft.com/office/drawing/2014/main" id="{44D39562-4FC4-4D16-01D2-7DDA05F8C975}"/>
              </a:ext>
            </a:extLst>
          </p:cNvPr>
          <p:cNvGraphicFramePr>
            <a:graphicFrameLocks noGrp="1"/>
          </p:cNvGraphicFramePr>
          <p:nvPr>
            <p:ph sz="quarter" idx="200"/>
            <p:extLst>
              <p:ext uri="{D42A27DB-BD31-4B8C-83A1-F6EECF244321}">
                <p14:modId xmlns:p14="http://schemas.microsoft.com/office/powerpoint/2010/main" val="2751858688"/>
              </p:ext>
            </p:extLst>
          </p:nvPr>
        </p:nvGraphicFramePr>
        <p:xfrm>
          <a:off x="431798" y="1576348"/>
          <a:ext cx="7975598" cy="3994372"/>
        </p:xfrm>
        <a:graphic>
          <a:graphicData uri="http://schemas.openxmlformats.org/drawingml/2006/table">
            <a:tbl>
              <a:tblPr firstRow="1" bandRow="1">
                <a:tableStyleId>{5C22544A-7EE6-4342-B048-85BDC9FD1C3A}</a:tableStyleId>
              </a:tblPr>
              <a:tblGrid>
                <a:gridCol w="1126731">
                  <a:extLst>
                    <a:ext uri="{9D8B030D-6E8A-4147-A177-3AD203B41FA5}">
                      <a16:colId xmlns:a16="http://schemas.microsoft.com/office/drawing/2014/main" val="4121101153"/>
                    </a:ext>
                  </a:extLst>
                </a:gridCol>
                <a:gridCol w="1215211">
                  <a:extLst>
                    <a:ext uri="{9D8B030D-6E8A-4147-A177-3AD203B41FA5}">
                      <a16:colId xmlns:a16="http://schemas.microsoft.com/office/drawing/2014/main" val="2069098632"/>
                    </a:ext>
                  </a:extLst>
                </a:gridCol>
                <a:gridCol w="1126731">
                  <a:extLst>
                    <a:ext uri="{9D8B030D-6E8A-4147-A177-3AD203B41FA5}">
                      <a16:colId xmlns:a16="http://schemas.microsoft.com/office/drawing/2014/main" val="3455468593"/>
                    </a:ext>
                  </a:extLst>
                </a:gridCol>
                <a:gridCol w="1242346">
                  <a:extLst>
                    <a:ext uri="{9D8B030D-6E8A-4147-A177-3AD203B41FA5}">
                      <a16:colId xmlns:a16="http://schemas.microsoft.com/office/drawing/2014/main" val="767167701"/>
                    </a:ext>
                  </a:extLst>
                </a:gridCol>
                <a:gridCol w="1171486">
                  <a:extLst>
                    <a:ext uri="{9D8B030D-6E8A-4147-A177-3AD203B41FA5}">
                      <a16:colId xmlns:a16="http://schemas.microsoft.com/office/drawing/2014/main" val="532420505"/>
                    </a:ext>
                  </a:extLst>
                </a:gridCol>
                <a:gridCol w="966362">
                  <a:extLst>
                    <a:ext uri="{9D8B030D-6E8A-4147-A177-3AD203B41FA5}">
                      <a16:colId xmlns:a16="http://schemas.microsoft.com/office/drawing/2014/main" val="188416773"/>
                    </a:ext>
                  </a:extLst>
                </a:gridCol>
                <a:gridCol w="1126731">
                  <a:extLst>
                    <a:ext uri="{9D8B030D-6E8A-4147-A177-3AD203B41FA5}">
                      <a16:colId xmlns:a16="http://schemas.microsoft.com/office/drawing/2014/main" val="2491732469"/>
                    </a:ext>
                  </a:extLst>
                </a:gridCol>
              </a:tblGrid>
              <a:tr h="336772">
                <a:tc>
                  <a:txBody>
                    <a:bodyPr/>
                    <a:lstStyle/>
                    <a:p>
                      <a:endParaRPr lang="en-US" dirty="0">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a:r>
                        <a:rPr lang="en-US" dirty="0">
                          <a:solidFill>
                            <a:schemeClr val="accent1"/>
                          </a:solidFill>
                        </a:rPr>
                        <a:t>Firm charged when employee:</a:t>
                      </a: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75357"/>
                  </a:ext>
                </a:extLst>
              </a:tr>
              <a:tr h="415198">
                <a:tc>
                  <a:txBody>
                    <a:bodyPr/>
                    <a:lstStyle/>
                    <a:p>
                      <a:r>
                        <a:rPr lang="en-US" b="1" dirty="0">
                          <a:solidFill>
                            <a:schemeClr val="accent1"/>
                          </a:solidFill>
                        </a:rPr>
                        <a:t>State</a:t>
                      </a: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b="1" dirty="0">
                          <a:solidFill>
                            <a:schemeClr val="accent1"/>
                          </a:solidFill>
                        </a:rPr>
                        <a:t>Charges</a:t>
                      </a:r>
                      <a:r>
                        <a:rPr lang="en-US" b="1" baseline="30000" dirty="0">
                          <a:solidFill>
                            <a:schemeClr val="accent1"/>
                          </a:solidFill>
                        </a:rPr>
                        <a:t>1</a:t>
                      </a:r>
                      <a:endParaRPr lang="en-US" b="1" dirty="0">
                        <a:solidFill>
                          <a:schemeClr val="accent1"/>
                        </a:solidFill>
                      </a:endParaRPr>
                    </a:p>
                  </a:txBody>
                  <a:tcPr anchor="b">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chemeClr val="accent1"/>
                          </a:solidFill>
                        </a:rPr>
                        <a:t>Award reversed</a:t>
                      </a:r>
                    </a:p>
                  </a:txBody>
                  <a:tcPr anchor="b">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chemeClr val="accent1"/>
                          </a:solidFill>
                        </a:rPr>
                        <a:t>Voluntary departure</a:t>
                      </a:r>
                    </a:p>
                  </a:txBody>
                  <a:tcPr anchor="b">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chemeClr val="accent1"/>
                          </a:solidFill>
                        </a:rPr>
                        <a:t>Committed misconduct</a:t>
                      </a:r>
                    </a:p>
                  </a:txBody>
                  <a:tcPr anchor="b">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chemeClr val="accent1"/>
                          </a:solidFill>
                        </a:rPr>
                        <a:t>Refused work</a:t>
                      </a:r>
                    </a:p>
                  </a:txBody>
                  <a:tcPr anchor="b">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chemeClr val="accent1"/>
                          </a:solidFill>
                        </a:rPr>
                        <a:t>Continues part-time</a:t>
                      </a:r>
                    </a:p>
                  </a:txBody>
                  <a:tcPr anchor="b">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085552"/>
                  </a:ext>
                </a:extLst>
              </a:tr>
              <a:tr h="415198">
                <a:tc>
                  <a:txBody>
                    <a:bodyPr/>
                    <a:lstStyle/>
                    <a:p>
                      <a:r>
                        <a:rPr lang="en-US" dirty="0"/>
                        <a:t>FL</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b="1" dirty="0">
                          <a:solidFill>
                            <a:srgbClr val="428249"/>
                          </a:solidFill>
                        </a:rPr>
                        <a:t>All employers</a:t>
                      </a:r>
                    </a:p>
                    <a:p>
                      <a:r>
                        <a:rPr lang="en-US" b="1" dirty="0">
                          <a:solidFill>
                            <a:srgbClr val="428249"/>
                          </a:solidFill>
                        </a:rPr>
                        <a:t>(proportional)</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4613019"/>
                  </a:ext>
                </a:extLst>
              </a:tr>
              <a:tr h="415198">
                <a:tc>
                  <a:txBody>
                    <a:bodyPr/>
                    <a:lstStyle/>
                    <a:p>
                      <a:r>
                        <a:rPr lang="en-US" dirty="0"/>
                        <a:t>GA</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b="1" dirty="0">
                          <a:solidFill>
                            <a:srgbClr val="B52C19"/>
                          </a:solidFill>
                        </a:rPr>
                        <a:t>Most recent employer</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3193413"/>
                  </a:ext>
                </a:extLst>
              </a:tr>
              <a:tr h="415198">
                <a:tc>
                  <a:txBody>
                    <a:bodyPr/>
                    <a:lstStyle/>
                    <a:p>
                      <a:r>
                        <a:rPr lang="en-US" dirty="0"/>
                        <a:t>NC</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dirty="0">
                          <a:solidFill>
                            <a:srgbClr val="428249"/>
                          </a:solidFill>
                          <a:latin typeface="+mn-lt"/>
                          <a:ea typeface="+mn-ea"/>
                          <a:cs typeface="+mn-cs"/>
                        </a:rPr>
                        <a:t>All employers</a:t>
                      </a:r>
                    </a:p>
                    <a:p>
                      <a:pPr marL="0" algn="l" defTabSz="914400" rtl="0" eaLnBrk="1" latinLnBrk="0" hangingPunct="1"/>
                      <a:r>
                        <a:rPr lang="en-US" sz="1200" b="1" kern="1200" dirty="0">
                          <a:solidFill>
                            <a:srgbClr val="428249"/>
                          </a:solidFill>
                          <a:latin typeface="+mn-lt"/>
                          <a:ea typeface="+mn-ea"/>
                          <a:cs typeface="+mn-cs"/>
                        </a:rPr>
                        <a:t>(proportional)</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470878"/>
                  </a:ext>
                </a:extLst>
              </a:tr>
              <a:tr h="415198">
                <a:tc>
                  <a:txBody>
                    <a:bodyPr/>
                    <a:lstStyle/>
                    <a:p>
                      <a:r>
                        <a:rPr lang="en-US" dirty="0"/>
                        <a:t>SC</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dirty="0">
                          <a:solidFill>
                            <a:srgbClr val="B52C19"/>
                          </a:solidFill>
                          <a:latin typeface="+mn-lt"/>
                          <a:ea typeface="+mn-ea"/>
                          <a:cs typeface="+mn-cs"/>
                        </a:rPr>
                        <a:t>Most recent employer</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693768"/>
                  </a:ext>
                </a:extLst>
              </a:tr>
              <a:tr h="415198">
                <a:tc>
                  <a:txBody>
                    <a:bodyPr/>
                    <a:lstStyle/>
                    <a:p>
                      <a:r>
                        <a:rPr lang="en-US" dirty="0"/>
                        <a:t>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dirty="0">
                          <a:solidFill>
                            <a:srgbClr val="428249"/>
                          </a:solidFill>
                          <a:latin typeface="+mn-lt"/>
                          <a:ea typeface="+mn-ea"/>
                          <a:cs typeface="+mn-cs"/>
                        </a:rPr>
                        <a:t>All employers</a:t>
                      </a:r>
                    </a:p>
                    <a:p>
                      <a:pPr marL="0" algn="l" defTabSz="914400" rtl="0" eaLnBrk="1" latinLnBrk="0" hangingPunct="1"/>
                      <a:r>
                        <a:rPr lang="en-US" sz="1200" b="1" kern="1200" dirty="0">
                          <a:solidFill>
                            <a:srgbClr val="428249"/>
                          </a:solidFill>
                          <a:latin typeface="+mn-lt"/>
                          <a:ea typeface="+mn-ea"/>
                          <a:cs typeface="+mn-cs"/>
                        </a:rPr>
                        <a:t>(proportional)</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404131"/>
                  </a:ext>
                </a:extLst>
              </a:tr>
              <a:tr h="415198">
                <a:tc>
                  <a:txBody>
                    <a:bodyPr/>
                    <a:lstStyle/>
                    <a:p>
                      <a:r>
                        <a:rPr lang="en-US" dirty="0"/>
                        <a:t>TX</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dirty="0">
                          <a:solidFill>
                            <a:srgbClr val="428249"/>
                          </a:solidFill>
                          <a:latin typeface="+mn-lt"/>
                          <a:ea typeface="+mn-ea"/>
                          <a:cs typeface="+mn-cs"/>
                        </a:rPr>
                        <a:t>All employers</a:t>
                      </a:r>
                    </a:p>
                    <a:p>
                      <a:pPr marL="0" algn="l" defTabSz="914400" rtl="0" eaLnBrk="1" latinLnBrk="0" hangingPunct="1"/>
                      <a:r>
                        <a:rPr lang="en-US" sz="1200" b="1" kern="1200" dirty="0">
                          <a:solidFill>
                            <a:srgbClr val="428249"/>
                          </a:solidFill>
                          <a:latin typeface="+mn-lt"/>
                          <a:ea typeface="+mn-ea"/>
                          <a:cs typeface="+mn-cs"/>
                        </a:rPr>
                        <a:t>(proportional)</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428249"/>
                          </a:solidFill>
                        </a:rPr>
                        <a:t>N</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7591447"/>
                  </a:ext>
                </a:extLst>
              </a:tr>
              <a:tr h="415198">
                <a:tc>
                  <a:txBody>
                    <a:bodyPr/>
                    <a:lstStyle/>
                    <a:p>
                      <a:r>
                        <a:rPr lang="en-US" b="1" dirty="0">
                          <a:solidFill>
                            <a:schemeClr val="accent1"/>
                          </a:solidFill>
                        </a:rPr>
                        <a:t>VA</a:t>
                      </a: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dirty="0">
                          <a:solidFill>
                            <a:srgbClr val="B52C19"/>
                          </a:solidFill>
                          <a:latin typeface="+mn-lt"/>
                          <a:ea typeface="+mn-ea"/>
                          <a:cs typeface="+mn-cs"/>
                        </a:rPr>
                        <a:t>Most recent employer</a:t>
                      </a: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r>
                        <a:rPr lang="en-US" b="1" baseline="30000" dirty="0">
                          <a:solidFill>
                            <a:srgbClr val="B52C19"/>
                          </a:solidFill>
                        </a:rPr>
                        <a:t>2</a:t>
                      </a:r>
                      <a:endParaRPr lang="en-US" b="1" dirty="0">
                        <a:solidFill>
                          <a:srgbClr val="B52C19"/>
                        </a:solidFill>
                      </a:endParaRP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r>
                        <a:rPr lang="en-US" b="1" baseline="30000" dirty="0">
                          <a:solidFill>
                            <a:srgbClr val="B52C19"/>
                          </a:solidFill>
                        </a:rPr>
                        <a:t>3</a:t>
                      </a:r>
                      <a:endParaRPr lang="en-US" b="1" dirty="0">
                        <a:solidFill>
                          <a:srgbClr val="B52C19"/>
                        </a:solidFill>
                      </a:endParaRP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dirty="0">
                          <a:solidFill>
                            <a:srgbClr val="B52C19"/>
                          </a:solidFill>
                        </a:rPr>
                        <a:t>Y</a:t>
                      </a:r>
                    </a:p>
                  </a:txBody>
                  <a:tcP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772548"/>
                  </a:ext>
                </a:extLst>
              </a:tr>
            </a:tbl>
          </a:graphicData>
        </a:graphic>
      </p:graphicFrame>
      <p:sp>
        <p:nvSpPr>
          <p:cNvPr id="8" name="Title 7">
            <a:extLst>
              <a:ext uri="{FF2B5EF4-FFF2-40B4-BE49-F238E27FC236}">
                <a16:creationId xmlns:a16="http://schemas.microsoft.com/office/drawing/2014/main" id="{ABB5F394-BB1E-9BD3-4ABD-E0D3CE304721}"/>
              </a:ext>
            </a:extLst>
          </p:cNvPr>
          <p:cNvSpPr>
            <a:spLocks noGrp="1"/>
          </p:cNvSpPr>
          <p:nvPr>
            <p:ph type="title"/>
          </p:nvPr>
        </p:nvSpPr>
        <p:spPr>
          <a:xfrm>
            <a:off x="431798" y="596370"/>
            <a:ext cx="8280400" cy="567394"/>
          </a:xfrm>
        </p:spPr>
        <p:txBody>
          <a:bodyPr vert="horz"/>
          <a:lstStyle/>
          <a:p>
            <a:r>
              <a:rPr lang="en-US" dirty="0">
                <a:latin typeface="Verlag Bold" pitchFamily="2" charset="0"/>
              </a:rPr>
              <a:t>Virginia’s unemployment insurance charging policies are the least employer-friendly of any southeastern peers</a:t>
            </a:r>
          </a:p>
        </p:txBody>
      </p:sp>
      <p:sp>
        <p:nvSpPr>
          <p:cNvPr id="10" name="Subtitle 9">
            <a:extLst>
              <a:ext uri="{FF2B5EF4-FFF2-40B4-BE49-F238E27FC236}">
                <a16:creationId xmlns:a16="http://schemas.microsoft.com/office/drawing/2014/main" id="{F222D8F9-CF4E-77E8-B426-FD23B32144A7}"/>
              </a:ext>
            </a:extLst>
          </p:cNvPr>
          <p:cNvSpPr>
            <a:spLocks noGrp="1"/>
          </p:cNvSpPr>
          <p:nvPr>
            <p:ph type="subTitle" sz="quarter" idx="1000"/>
          </p:nvPr>
        </p:nvSpPr>
        <p:spPr>
          <a:xfrm>
            <a:off x="431799" y="6267001"/>
            <a:ext cx="7440613" cy="505508"/>
          </a:xfrm>
        </p:spPr>
        <p:txBody>
          <a:bodyPr/>
          <a:lstStyle/>
          <a:p>
            <a:pPr marL="6350" marR="0" lvl="0" indent="-1588" algn="l" defTabSz="914400" rtl="0" eaLnBrk="1" fontAlgn="auto" latinLnBrk="0" hangingPunct="1">
              <a:lnSpc>
                <a:spcPct val="90000"/>
              </a:lnSpc>
              <a:spcBef>
                <a:spcPts val="75"/>
              </a:spcBef>
              <a:spcAft>
                <a:spcPts val="75"/>
              </a:spcAft>
              <a:buClrTx/>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Source: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hlinkClick r:id="rId7"/>
              </a:rPr>
              <a:t>State Business Tax Climate Index 2023</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hlinkClick r:id="rId8"/>
              </a:rPr>
              <a:t>Code of Virginia</a:t>
            </a:r>
            <a:endParaRPr lang="en-US" sz="1400" dirty="0">
              <a:solidFill>
                <a:srgbClr val="000000"/>
              </a:solidFill>
              <a:latin typeface="Arial" panose="020B0604020202020204"/>
            </a:endParaRPr>
          </a:p>
          <a:p>
            <a:pPr marL="6350" marR="0" lvl="0" indent="-1588" algn="l" defTabSz="914400" rtl="0" eaLnBrk="1" fontAlgn="auto" latinLnBrk="0" hangingPunct="1">
              <a:lnSpc>
                <a:spcPct val="90000"/>
              </a:lnSpc>
              <a:spcBef>
                <a:spcPts val="75"/>
              </a:spcBef>
              <a:spcAft>
                <a:spcPts val="75"/>
              </a:spcAft>
              <a:buClrTx/>
              <a:buSzPct val="100000"/>
              <a:buFontTx/>
              <a:buNone/>
              <a:tabLst/>
              <a:defRPr/>
            </a:pPr>
            <a:endParaRPr lang="en-US" sz="800" dirty="0"/>
          </a:p>
          <a:p>
            <a:pPr lvl="1"/>
            <a:r>
              <a:rPr lang="en-US" dirty="0"/>
              <a:t>Reflects which employer is charged when an employee receives benefits. Proportionally charging all employers in the base period diffuses the tax burden, while charging only the most recent employer concentrates it</a:t>
            </a:r>
          </a:p>
          <a:p>
            <a:pPr lvl="3"/>
            <a:r>
              <a:rPr lang="en-US" dirty="0"/>
              <a:t>Virginia does not charge firms if the discharged employee voluntarily left to accept other employment they believed to be permanent</a:t>
            </a:r>
          </a:p>
          <a:p>
            <a:pPr lvl="3"/>
            <a:r>
              <a:rPr lang="en-US" dirty="0"/>
              <a:t>Virginia does not charge firms if the discharged employee was imprisoned as a result of legal violations</a:t>
            </a:r>
          </a:p>
        </p:txBody>
      </p:sp>
      <p:sp>
        <p:nvSpPr>
          <p:cNvPr id="6" name="Slide Number Placeholder 5">
            <a:extLst>
              <a:ext uri="{FF2B5EF4-FFF2-40B4-BE49-F238E27FC236}">
                <a16:creationId xmlns:a16="http://schemas.microsoft.com/office/drawing/2014/main" id="{DDCDC516-90C9-DD88-C690-8A9C33EC3C69}"/>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44</a:t>
            </a:fld>
            <a:endParaRPr lang="en-US" sz="900" b="1" dirty="0">
              <a:solidFill>
                <a:schemeClr val="accent1"/>
              </a:solidFill>
              <a:latin typeface="Verlag Bold" pitchFamily="2" charset="0"/>
            </a:endParaRPr>
          </a:p>
        </p:txBody>
      </p:sp>
      <p:sp>
        <p:nvSpPr>
          <p:cNvPr id="3" name="TextBox 2">
            <a:extLst>
              <a:ext uri="{FF2B5EF4-FFF2-40B4-BE49-F238E27FC236}">
                <a16:creationId xmlns:a16="http://schemas.microsoft.com/office/drawing/2014/main" id="{161EC5D5-1A0C-6064-62C8-D6BE62DF0EFC}"/>
              </a:ext>
            </a:extLst>
          </p:cNvPr>
          <p:cNvSpPr txBox="1"/>
          <p:nvPr/>
        </p:nvSpPr>
        <p:spPr>
          <a:xfrm>
            <a:off x="431798" y="1355621"/>
            <a:ext cx="4219104" cy="220727"/>
          </a:xfrm>
          <a:prstGeom prst="rect">
            <a:avLst/>
          </a:prstGeom>
          <a:blipFill dpi="0" rotWithShape="1">
            <a:blip r:embed="rId9"/>
            <a:srcRect/>
            <a:tile tx="0" ty="0" sx="100000" sy="100000" flip="xy" algn="b"/>
          </a:blipFill>
          <a:effectLst/>
        </p:spPr>
        <p:txBody>
          <a:bodyPr vert="horz" wrap="none" lIns="0" tIns="0" rIns="0" bIns="54000" rtlCol="0" anchor="b">
            <a:spAutoFit/>
          </a:bodyPr>
          <a:lstStyle>
            <a:defPPr>
              <a:defRPr lang="en-US"/>
            </a:defPPr>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r>
              <a:rPr lang="en-US" dirty="0"/>
              <a:t>Peer state unemployment insurance tax charging policies</a:t>
            </a:r>
          </a:p>
        </p:txBody>
      </p:sp>
    </p:spTree>
    <p:extLst>
      <p:ext uri="{BB962C8B-B14F-4D97-AF65-F5344CB8AC3E}">
        <p14:creationId xmlns:p14="http://schemas.microsoft.com/office/powerpoint/2010/main" val="3682123704"/>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3" name="Object 82" hidden="1">
            <a:extLst>
              <a:ext uri="{FF2B5EF4-FFF2-40B4-BE49-F238E27FC236}">
                <a16:creationId xmlns:a16="http://schemas.microsoft.com/office/drawing/2014/main" id="{E1084622-6F0F-A30B-B5C5-3280A732496F}"/>
              </a:ext>
            </a:extLst>
          </p:cNvPr>
          <p:cNvGraphicFramePr>
            <a:graphicFrameLocks noChangeAspect="1"/>
          </p:cNvGraphicFramePr>
          <p:nvPr>
            <p:custDataLst>
              <p:tags r:id="rId2"/>
            </p:custDataLst>
            <p:extLst>
              <p:ext uri="{D42A27DB-BD31-4B8C-83A1-F6EECF244321}">
                <p14:modId xmlns:p14="http://schemas.microsoft.com/office/powerpoint/2010/main" val="2148751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3" name="Object 82" hidden="1">
                        <a:extLst>
                          <a:ext uri="{FF2B5EF4-FFF2-40B4-BE49-F238E27FC236}">
                            <a16:creationId xmlns:a16="http://schemas.microsoft.com/office/drawing/2014/main" id="{E1084622-6F0F-A30B-B5C5-3280A73249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86" name="Group 85">
            <a:extLst>
              <a:ext uri="{FF2B5EF4-FFF2-40B4-BE49-F238E27FC236}">
                <a16:creationId xmlns:a16="http://schemas.microsoft.com/office/drawing/2014/main" id="{B68C7E5B-99E2-413B-B6C5-2445E2CBFD70}"/>
              </a:ext>
            </a:extLst>
          </p:cNvPr>
          <p:cNvGrpSpPr/>
          <p:nvPr/>
        </p:nvGrpSpPr>
        <p:grpSpPr>
          <a:xfrm>
            <a:off x="1956165" y="2023732"/>
            <a:ext cx="6691314" cy="3803651"/>
            <a:chOff x="1872502" y="1398588"/>
            <a:chExt cx="6691314" cy="3803651"/>
          </a:xfrm>
        </p:grpSpPr>
        <p:sp>
          <p:nvSpPr>
            <p:cNvPr id="6" name="Freeform 3">
              <a:extLst>
                <a:ext uri="{FF2B5EF4-FFF2-40B4-BE49-F238E27FC236}">
                  <a16:creationId xmlns:a16="http://schemas.microsoft.com/office/drawing/2014/main" id="{09CEFF52-D3CA-41B2-9AE2-08858832798F}"/>
                </a:ext>
              </a:extLst>
            </p:cNvPr>
            <p:cNvSpPr>
              <a:spLocks/>
            </p:cNvSpPr>
            <p:nvPr/>
          </p:nvSpPr>
          <p:spPr bwMode="auto">
            <a:xfrm>
              <a:off x="7955803" y="2312987"/>
              <a:ext cx="423863" cy="203200"/>
            </a:xfrm>
            <a:custGeom>
              <a:avLst/>
              <a:gdLst>
                <a:gd name="T0" fmla="*/ 56 w 270"/>
                <a:gd name="T1" fmla="*/ 46 h 139"/>
                <a:gd name="T2" fmla="*/ 144 w 270"/>
                <a:gd name="T3" fmla="*/ 23 h 139"/>
                <a:gd name="T4" fmla="*/ 149 w 270"/>
                <a:gd name="T5" fmla="*/ 23 h 139"/>
                <a:gd name="T6" fmla="*/ 149 w 270"/>
                <a:gd name="T7" fmla="*/ 14 h 139"/>
                <a:gd name="T8" fmla="*/ 162 w 270"/>
                <a:gd name="T9" fmla="*/ 2 h 139"/>
                <a:gd name="T10" fmla="*/ 173 w 270"/>
                <a:gd name="T11" fmla="*/ 2 h 139"/>
                <a:gd name="T12" fmla="*/ 186 w 270"/>
                <a:gd name="T13" fmla="*/ 22 h 139"/>
                <a:gd name="T14" fmla="*/ 187 w 270"/>
                <a:gd name="T15" fmla="*/ 30 h 139"/>
                <a:gd name="T16" fmla="*/ 178 w 270"/>
                <a:gd name="T17" fmla="*/ 42 h 139"/>
                <a:gd name="T18" fmla="*/ 175 w 270"/>
                <a:gd name="T19" fmla="*/ 59 h 139"/>
                <a:gd name="T20" fmla="*/ 195 w 270"/>
                <a:gd name="T21" fmla="*/ 65 h 139"/>
                <a:gd name="T22" fmla="*/ 217 w 270"/>
                <a:gd name="T23" fmla="*/ 91 h 139"/>
                <a:gd name="T24" fmla="*/ 242 w 270"/>
                <a:gd name="T25" fmla="*/ 101 h 139"/>
                <a:gd name="T26" fmla="*/ 259 w 270"/>
                <a:gd name="T27" fmla="*/ 84 h 139"/>
                <a:gd name="T28" fmla="*/ 249 w 270"/>
                <a:gd name="T29" fmla="*/ 74 h 139"/>
                <a:gd name="T30" fmla="*/ 240 w 270"/>
                <a:gd name="T31" fmla="*/ 66 h 139"/>
                <a:gd name="T32" fmla="*/ 250 w 270"/>
                <a:gd name="T33" fmla="*/ 66 h 139"/>
                <a:gd name="T34" fmla="*/ 270 w 270"/>
                <a:gd name="T35" fmla="*/ 101 h 139"/>
                <a:gd name="T36" fmla="*/ 262 w 270"/>
                <a:gd name="T37" fmla="*/ 104 h 139"/>
                <a:gd name="T38" fmla="*/ 240 w 270"/>
                <a:gd name="T39" fmla="*/ 116 h 139"/>
                <a:gd name="T40" fmla="*/ 223 w 270"/>
                <a:gd name="T41" fmla="*/ 127 h 139"/>
                <a:gd name="T42" fmla="*/ 221 w 270"/>
                <a:gd name="T43" fmla="*/ 121 h 139"/>
                <a:gd name="T44" fmla="*/ 216 w 270"/>
                <a:gd name="T45" fmla="*/ 112 h 139"/>
                <a:gd name="T46" fmla="*/ 199 w 270"/>
                <a:gd name="T47" fmla="*/ 136 h 139"/>
                <a:gd name="T48" fmla="*/ 191 w 270"/>
                <a:gd name="T49" fmla="*/ 133 h 139"/>
                <a:gd name="T50" fmla="*/ 187 w 270"/>
                <a:gd name="T51" fmla="*/ 129 h 139"/>
                <a:gd name="T52" fmla="*/ 180 w 270"/>
                <a:gd name="T53" fmla="*/ 123 h 139"/>
                <a:gd name="T54" fmla="*/ 166 w 270"/>
                <a:gd name="T55" fmla="*/ 117 h 139"/>
                <a:gd name="T56" fmla="*/ 158 w 270"/>
                <a:gd name="T57" fmla="*/ 105 h 139"/>
                <a:gd name="T58" fmla="*/ 126 w 270"/>
                <a:gd name="T59" fmla="*/ 102 h 139"/>
                <a:gd name="T60" fmla="*/ 56 w 270"/>
                <a:gd name="T61" fmla="*/ 124 h 139"/>
                <a:gd name="T62" fmla="*/ 50 w 270"/>
                <a:gd name="T63" fmla="*/ 120 h 139"/>
                <a:gd name="T64" fmla="*/ 0 w 270"/>
                <a:gd name="T65" fmla="*/ 12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139">
                  <a:moveTo>
                    <a:pt x="1" y="58"/>
                  </a:moveTo>
                  <a:lnTo>
                    <a:pt x="56" y="46"/>
                  </a:lnTo>
                  <a:lnTo>
                    <a:pt x="143" y="26"/>
                  </a:lnTo>
                  <a:lnTo>
                    <a:pt x="144" y="23"/>
                  </a:lnTo>
                  <a:lnTo>
                    <a:pt x="146" y="21"/>
                  </a:lnTo>
                  <a:lnTo>
                    <a:pt x="149" y="23"/>
                  </a:lnTo>
                  <a:lnTo>
                    <a:pt x="150" y="21"/>
                  </a:lnTo>
                  <a:lnTo>
                    <a:pt x="149" y="14"/>
                  </a:lnTo>
                  <a:lnTo>
                    <a:pt x="156" y="12"/>
                  </a:lnTo>
                  <a:lnTo>
                    <a:pt x="162" y="2"/>
                  </a:lnTo>
                  <a:lnTo>
                    <a:pt x="168" y="0"/>
                  </a:lnTo>
                  <a:lnTo>
                    <a:pt x="173" y="2"/>
                  </a:lnTo>
                  <a:lnTo>
                    <a:pt x="176" y="14"/>
                  </a:lnTo>
                  <a:lnTo>
                    <a:pt x="186" y="22"/>
                  </a:lnTo>
                  <a:lnTo>
                    <a:pt x="189" y="27"/>
                  </a:lnTo>
                  <a:lnTo>
                    <a:pt x="187" y="30"/>
                  </a:lnTo>
                  <a:lnTo>
                    <a:pt x="182" y="34"/>
                  </a:lnTo>
                  <a:lnTo>
                    <a:pt x="178" y="42"/>
                  </a:lnTo>
                  <a:lnTo>
                    <a:pt x="174" y="54"/>
                  </a:lnTo>
                  <a:lnTo>
                    <a:pt x="175" y="59"/>
                  </a:lnTo>
                  <a:lnTo>
                    <a:pt x="186" y="59"/>
                  </a:lnTo>
                  <a:lnTo>
                    <a:pt x="195" y="65"/>
                  </a:lnTo>
                  <a:lnTo>
                    <a:pt x="211" y="81"/>
                  </a:lnTo>
                  <a:lnTo>
                    <a:pt x="217" y="91"/>
                  </a:lnTo>
                  <a:lnTo>
                    <a:pt x="224" y="100"/>
                  </a:lnTo>
                  <a:lnTo>
                    <a:pt x="242" y="101"/>
                  </a:lnTo>
                  <a:lnTo>
                    <a:pt x="253" y="96"/>
                  </a:lnTo>
                  <a:lnTo>
                    <a:pt x="259" y="84"/>
                  </a:lnTo>
                  <a:lnTo>
                    <a:pt x="256" y="82"/>
                  </a:lnTo>
                  <a:lnTo>
                    <a:pt x="249" y="74"/>
                  </a:lnTo>
                  <a:lnTo>
                    <a:pt x="239" y="70"/>
                  </a:lnTo>
                  <a:lnTo>
                    <a:pt x="240" y="66"/>
                  </a:lnTo>
                  <a:lnTo>
                    <a:pt x="247" y="66"/>
                  </a:lnTo>
                  <a:lnTo>
                    <a:pt x="250" y="66"/>
                  </a:lnTo>
                  <a:lnTo>
                    <a:pt x="262" y="83"/>
                  </a:lnTo>
                  <a:lnTo>
                    <a:pt x="270" y="101"/>
                  </a:lnTo>
                  <a:lnTo>
                    <a:pt x="269" y="110"/>
                  </a:lnTo>
                  <a:lnTo>
                    <a:pt x="262" y="104"/>
                  </a:lnTo>
                  <a:lnTo>
                    <a:pt x="253" y="110"/>
                  </a:lnTo>
                  <a:lnTo>
                    <a:pt x="240" y="116"/>
                  </a:lnTo>
                  <a:lnTo>
                    <a:pt x="227" y="127"/>
                  </a:lnTo>
                  <a:lnTo>
                    <a:pt x="223" y="127"/>
                  </a:lnTo>
                  <a:lnTo>
                    <a:pt x="221" y="126"/>
                  </a:lnTo>
                  <a:lnTo>
                    <a:pt x="221" y="121"/>
                  </a:lnTo>
                  <a:lnTo>
                    <a:pt x="218" y="112"/>
                  </a:lnTo>
                  <a:lnTo>
                    <a:pt x="216" y="112"/>
                  </a:lnTo>
                  <a:lnTo>
                    <a:pt x="209" y="125"/>
                  </a:lnTo>
                  <a:lnTo>
                    <a:pt x="199" y="136"/>
                  </a:lnTo>
                  <a:lnTo>
                    <a:pt x="197" y="139"/>
                  </a:lnTo>
                  <a:lnTo>
                    <a:pt x="191" y="133"/>
                  </a:lnTo>
                  <a:lnTo>
                    <a:pt x="190" y="130"/>
                  </a:lnTo>
                  <a:lnTo>
                    <a:pt x="187" y="129"/>
                  </a:lnTo>
                  <a:lnTo>
                    <a:pt x="186" y="126"/>
                  </a:lnTo>
                  <a:lnTo>
                    <a:pt x="180" y="123"/>
                  </a:lnTo>
                  <a:lnTo>
                    <a:pt x="180" y="120"/>
                  </a:lnTo>
                  <a:lnTo>
                    <a:pt x="166" y="117"/>
                  </a:lnTo>
                  <a:lnTo>
                    <a:pt x="162" y="106"/>
                  </a:lnTo>
                  <a:lnTo>
                    <a:pt x="158" y="105"/>
                  </a:lnTo>
                  <a:lnTo>
                    <a:pt x="154" y="95"/>
                  </a:lnTo>
                  <a:lnTo>
                    <a:pt x="126" y="102"/>
                  </a:lnTo>
                  <a:lnTo>
                    <a:pt x="57" y="120"/>
                  </a:lnTo>
                  <a:lnTo>
                    <a:pt x="56" y="124"/>
                  </a:lnTo>
                  <a:lnTo>
                    <a:pt x="54" y="125"/>
                  </a:lnTo>
                  <a:lnTo>
                    <a:pt x="50" y="120"/>
                  </a:lnTo>
                  <a:lnTo>
                    <a:pt x="3" y="131"/>
                  </a:lnTo>
                  <a:lnTo>
                    <a:pt x="0" y="129"/>
                  </a:lnTo>
                  <a:lnTo>
                    <a:pt x="1" y="58"/>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nvGrpSpPr>
            <p:cNvPr id="80" name="Group 79">
              <a:extLst>
                <a:ext uri="{FF2B5EF4-FFF2-40B4-BE49-F238E27FC236}">
                  <a16:creationId xmlns:a16="http://schemas.microsoft.com/office/drawing/2014/main" id="{CE37F2B1-833C-4A6B-BCF9-076C9486C047}"/>
                </a:ext>
              </a:extLst>
            </p:cNvPr>
            <p:cNvGrpSpPr/>
            <p:nvPr/>
          </p:nvGrpSpPr>
          <p:grpSpPr>
            <a:xfrm>
              <a:off x="1872502" y="1398588"/>
              <a:ext cx="6691314" cy="3803651"/>
              <a:chOff x="1872502" y="1398588"/>
              <a:chExt cx="6691314" cy="3803651"/>
            </a:xfrm>
          </p:grpSpPr>
          <p:sp>
            <p:nvSpPr>
              <p:cNvPr id="7" name="Freeform 4">
                <a:extLst>
                  <a:ext uri="{FF2B5EF4-FFF2-40B4-BE49-F238E27FC236}">
                    <a16:creationId xmlns:a16="http://schemas.microsoft.com/office/drawing/2014/main" id="{39F53633-3B9F-4B0B-AA63-E3179DEEBA4C}"/>
                  </a:ext>
                </a:extLst>
              </p:cNvPr>
              <p:cNvSpPr>
                <a:spLocks/>
              </p:cNvSpPr>
              <p:nvPr/>
            </p:nvSpPr>
            <p:spPr bwMode="auto">
              <a:xfrm>
                <a:off x="8095503" y="1598612"/>
                <a:ext cx="468313" cy="693738"/>
              </a:xfrm>
              <a:custGeom>
                <a:avLst/>
                <a:gdLst>
                  <a:gd name="T0" fmla="*/ 57 w 297"/>
                  <a:gd name="T1" fmla="*/ 429 h 477"/>
                  <a:gd name="T2" fmla="*/ 57 w 297"/>
                  <a:gd name="T3" fmla="*/ 439 h 477"/>
                  <a:gd name="T4" fmla="*/ 73 w 297"/>
                  <a:gd name="T5" fmla="*/ 453 h 477"/>
                  <a:gd name="T6" fmla="*/ 77 w 297"/>
                  <a:gd name="T7" fmla="*/ 460 h 477"/>
                  <a:gd name="T8" fmla="*/ 85 w 297"/>
                  <a:gd name="T9" fmla="*/ 477 h 477"/>
                  <a:gd name="T10" fmla="*/ 89 w 297"/>
                  <a:gd name="T11" fmla="*/ 464 h 477"/>
                  <a:gd name="T12" fmla="*/ 97 w 297"/>
                  <a:gd name="T13" fmla="*/ 438 h 477"/>
                  <a:gd name="T14" fmla="*/ 109 w 297"/>
                  <a:gd name="T15" fmla="*/ 412 h 477"/>
                  <a:gd name="T16" fmla="*/ 105 w 297"/>
                  <a:gd name="T17" fmla="*/ 405 h 477"/>
                  <a:gd name="T18" fmla="*/ 121 w 297"/>
                  <a:gd name="T19" fmla="*/ 377 h 477"/>
                  <a:gd name="T20" fmla="*/ 127 w 297"/>
                  <a:gd name="T21" fmla="*/ 387 h 477"/>
                  <a:gd name="T22" fmla="*/ 132 w 297"/>
                  <a:gd name="T23" fmla="*/ 386 h 477"/>
                  <a:gd name="T24" fmla="*/ 133 w 297"/>
                  <a:gd name="T25" fmla="*/ 373 h 477"/>
                  <a:gd name="T26" fmla="*/ 154 w 297"/>
                  <a:gd name="T27" fmla="*/ 365 h 477"/>
                  <a:gd name="T28" fmla="*/ 157 w 297"/>
                  <a:gd name="T29" fmla="*/ 355 h 477"/>
                  <a:gd name="T30" fmla="*/ 169 w 297"/>
                  <a:gd name="T31" fmla="*/ 352 h 477"/>
                  <a:gd name="T32" fmla="*/ 175 w 297"/>
                  <a:gd name="T33" fmla="*/ 336 h 477"/>
                  <a:gd name="T34" fmla="*/ 183 w 297"/>
                  <a:gd name="T35" fmla="*/ 316 h 477"/>
                  <a:gd name="T36" fmla="*/ 187 w 297"/>
                  <a:gd name="T37" fmla="*/ 309 h 477"/>
                  <a:gd name="T38" fmla="*/ 202 w 297"/>
                  <a:gd name="T39" fmla="*/ 309 h 477"/>
                  <a:gd name="T40" fmla="*/ 209 w 297"/>
                  <a:gd name="T41" fmla="*/ 293 h 477"/>
                  <a:gd name="T42" fmla="*/ 220 w 297"/>
                  <a:gd name="T43" fmla="*/ 281 h 477"/>
                  <a:gd name="T44" fmla="*/ 239 w 297"/>
                  <a:gd name="T45" fmla="*/ 290 h 477"/>
                  <a:gd name="T46" fmla="*/ 260 w 297"/>
                  <a:gd name="T47" fmla="*/ 265 h 477"/>
                  <a:gd name="T48" fmla="*/ 279 w 297"/>
                  <a:gd name="T49" fmla="*/ 245 h 477"/>
                  <a:gd name="T50" fmla="*/ 285 w 297"/>
                  <a:gd name="T51" fmla="*/ 243 h 477"/>
                  <a:gd name="T52" fmla="*/ 297 w 297"/>
                  <a:gd name="T53" fmla="*/ 230 h 477"/>
                  <a:gd name="T54" fmla="*/ 289 w 297"/>
                  <a:gd name="T55" fmla="*/ 221 h 477"/>
                  <a:gd name="T56" fmla="*/ 284 w 297"/>
                  <a:gd name="T57" fmla="*/ 220 h 477"/>
                  <a:gd name="T58" fmla="*/ 289 w 297"/>
                  <a:gd name="T59" fmla="*/ 211 h 477"/>
                  <a:gd name="T60" fmla="*/ 282 w 297"/>
                  <a:gd name="T61" fmla="*/ 193 h 477"/>
                  <a:gd name="T62" fmla="*/ 269 w 297"/>
                  <a:gd name="T63" fmla="*/ 189 h 477"/>
                  <a:gd name="T64" fmla="*/ 261 w 297"/>
                  <a:gd name="T65" fmla="*/ 194 h 477"/>
                  <a:gd name="T66" fmla="*/ 247 w 297"/>
                  <a:gd name="T67" fmla="*/ 166 h 477"/>
                  <a:gd name="T68" fmla="*/ 248 w 297"/>
                  <a:gd name="T69" fmla="*/ 158 h 477"/>
                  <a:gd name="T70" fmla="*/ 241 w 297"/>
                  <a:gd name="T71" fmla="*/ 155 h 477"/>
                  <a:gd name="T72" fmla="*/ 227 w 297"/>
                  <a:gd name="T73" fmla="*/ 153 h 477"/>
                  <a:gd name="T74" fmla="*/ 217 w 297"/>
                  <a:gd name="T75" fmla="*/ 151 h 477"/>
                  <a:gd name="T76" fmla="*/ 212 w 297"/>
                  <a:gd name="T77" fmla="*/ 132 h 477"/>
                  <a:gd name="T78" fmla="*/ 145 w 297"/>
                  <a:gd name="T79" fmla="*/ 1 h 477"/>
                  <a:gd name="T80" fmla="*/ 129 w 297"/>
                  <a:gd name="T81" fmla="*/ 0 h 477"/>
                  <a:gd name="T82" fmla="*/ 125 w 297"/>
                  <a:gd name="T83" fmla="*/ 10 h 477"/>
                  <a:gd name="T84" fmla="*/ 109 w 297"/>
                  <a:gd name="T85" fmla="*/ 16 h 477"/>
                  <a:gd name="T86" fmla="*/ 89 w 297"/>
                  <a:gd name="T87" fmla="*/ 30 h 477"/>
                  <a:gd name="T88" fmla="*/ 84 w 297"/>
                  <a:gd name="T89" fmla="*/ 11 h 477"/>
                  <a:gd name="T90" fmla="*/ 76 w 297"/>
                  <a:gd name="T91" fmla="*/ 6 h 477"/>
                  <a:gd name="T92" fmla="*/ 38 w 297"/>
                  <a:gd name="T93" fmla="*/ 98 h 477"/>
                  <a:gd name="T94" fmla="*/ 41 w 297"/>
                  <a:gd name="T95" fmla="*/ 117 h 477"/>
                  <a:gd name="T96" fmla="*/ 39 w 297"/>
                  <a:gd name="T97" fmla="*/ 133 h 477"/>
                  <a:gd name="T98" fmla="*/ 32 w 297"/>
                  <a:gd name="T99" fmla="*/ 145 h 477"/>
                  <a:gd name="T100" fmla="*/ 36 w 297"/>
                  <a:gd name="T101" fmla="*/ 192 h 477"/>
                  <a:gd name="T102" fmla="*/ 23 w 297"/>
                  <a:gd name="T103" fmla="*/ 218 h 477"/>
                  <a:gd name="T104" fmla="*/ 26 w 297"/>
                  <a:gd name="T105" fmla="*/ 237 h 477"/>
                  <a:gd name="T106" fmla="*/ 18 w 297"/>
                  <a:gd name="T107" fmla="*/ 238 h 477"/>
                  <a:gd name="T108" fmla="*/ 17 w 297"/>
                  <a:gd name="T109" fmla="*/ 253 h 477"/>
                  <a:gd name="T110" fmla="*/ 7 w 297"/>
                  <a:gd name="T111" fmla="*/ 249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7" h="477">
                    <a:moveTo>
                      <a:pt x="0" y="256"/>
                    </a:moveTo>
                    <a:lnTo>
                      <a:pt x="57" y="429"/>
                    </a:lnTo>
                    <a:lnTo>
                      <a:pt x="58" y="432"/>
                    </a:lnTo>
                    <a:lnTo>
                      <a:pt x="57" y="439"/>
                    </a:lnTo>
                    <a:lnTo>
                      <a:pt x="58" y="442"/>
                    </a:lnTo>
                    <a:lnTo>
                      <a:pt x="73" y="453"/>
                    </a:lnTo>
                    <a:lnTo>
                      <a:pt x="76" y="454"/>
                    </a:lnTo>
                    <a:lnTo>
                      <a:pt x="77" y="460"/>
                    </a:lnTo>
                    <a:lnTo>
                      <a:pt x="77" y="464"/>
                    </a:lnTo>
                    <a:lnTo>
                      <a:pt x="85" y="477"/>
                    </a:lnTo>
                    <a:lnTo>
                      <a:pt x="87" y="473"/>
                    </a:lnTo>
                    <a:lnTo>
                      <a:pt x="89" y="464"/>
                    </a:lnTo>
                    <a:lnTo>
                      <a:pt x="90" y="451"/>
                    </a:lnTo>
                    <a:lnTo>
                      <a:pt x="97" y="438"/>
                    </a:lnTo>
                    <a:lnTo>
                      <a:pt x="101" y="419"/>
                    </a:lnTo>
                    <a:lnTo>
                      <a:pt x="109" y="412"/>
                    </a:lnTo>
                    <a:lnTo>
                      <a:pt x="109" y="408"/>
                    </a:lnTo>
                    <a:lnTo>
                      <a:pt x="105" y="405"/>
                    </a:lnTo>
                    <a:lnTo>
                      <a:pt x="101" y="394"/>
                    </a:lnTo>
                    <a:lnTo>
                      <a:pt x="121" y="377"/>
                    </a:lnTo>
                    <a:lnTo>
                      <a:pt x="124" y="379"/>
                    </a:lnTo>
                    <a:lnTo>
                      <a:pt x="127" y="387"/>
                    </a:lnTo>
                    <a:lnTo>
                      <a:pt x="129" y="389"/>
                    </a:lnTo>
                    <a:lnTo>
                      <a:pt x="132" y="386"/>
                    </a:lnTo>
                    <a:lnTo>
                      <a:pt x="132" y="377"/>
                    </a:lnTo>
                    <a:lnTo>
                      <a:pt x="133" y="373"/>
                    </a:lnTo>
                    <a:lnTo>
                      <a:pt x="148" y="371"/>
                    </a:lnTo>
                    <a:lnTo>
                      <a:pt x="154" y="365"/>
                    </a:lnTo>
                    <a:lnTo>
                      <a:pt x="154" y="358"/>
                    </a:lnTo>
                    <a:lnTo>
                      <a:pt x="157" y="355"/>
                    </a:lnTo>
                    <a:lnTo>
                      <a:pt x="164" y="355"/>
                    </a:lnTo>
                    <a:lnTo>
                      <a:pt x="169" y="352"/>
                    </a:lnTo>
                    <a:lnTo>
                      <a:pt x="172" y="349"/>
                    </a:lnTo>
                    <a:lnTo>
                      <a:pt x="175" y="336"/>
                    </a:lnTo>
                    <a:lnTo>
                      <a:pt x="173" y="326"/>
                    </a:lnTo>
                    <a:lnTo>
                      <a:pt x="183" y="316"/>
                    </a:lnTo>
                    <a:lnTo>
                      <a:pt x="183" y="309"/>
                    </a:lnTo>
                    <a:lnTo>
                      <a:pt x="187" y="309"/>
                    </a:lnTo>
                    <a:lnTo>
                      <a:pt x="197" y="311"/>
                    </a:lnTo>
                    <a:lnTo>
                      <a:pt x="202" y="309"/>
                    </a:lnTo>
                    <a:lnTo>
                      <a:pt x="205" y="303"/>
                    </a:lnTo>
                    <a:lnTo>
                      <a:pt x="209" y="293"/>
                    </a:lnTo>
                    <a:lnTo>
                      <a:pt x="213" y="293"/>
                    </a:lnTo>
                    <a:lnTo>
                      <a:pt x="220" y="281"/>
                    </a:lnTo>
                    <a:lnTo>
                      <a:pt x="231" y="282"/>
                    </a:lnTo>
                    <a:lnTo>
                      <a:pt x="239" y="290"/>
                    </a:lnTo>
                    <a:lnTo>
                      <a:pt x="250" y="270"/>
                    </a:lnTo>
                    <a:lnTo>
                      <a:pt x="260" y="265"/>
                    </a:lnTo>
                    <a:lnTo>
                      <a:pt x="275" y="252"/>
                    </a:lnTo>
                    <a:lnTo>
                      <a:pt x="279" y="245"/>
                    </a:lnTo>
                    <a:lnTo>
                      <a:pt x="281" y="243"/>
                    </a:lnTo>
                    <a:lnTo>
                      <a:pt x="285" y="243"/>
                    </a:lnTo>
                    <a:lnTo>
                      <a:pt x="293" y="239"/>
                    </a:lnTo>
                    <a:lnTo>
                      <a:pt x="297" y="230"/>
                    </a:lnTo>
                    <a:lnTo>
                      <a:pt x="295" y="224"/>
                    </a:lnTo>
                    <a:lnTo>
                      <a:pt x="289" y="221"/>
                    </a:lnTo>
                    <a:lnTo>
                      <a:pt x="288" y="221"/>
                    </a:lnTo>
                    <a:lnTo>
                      <a:pt x="284" y="220"/>
                    </a:lnTo>
                    <a:lnTo>
                      <a:pt x="286" y="213"/>
                    </a:lnTo>
                    <a:lnTo>
                      <a:pt x="289" y="211"/>
                    </a:lnTo>
                    <a:lnTo>
                      <a:pt x="289" y="205"/>
                    </a:lnTo>
                    <a:lnTo>
                      <a:pt x="282" y="193"/>
                    </a:lnTo>
                    <a:lnTo>
                      <a:pt x="274" y="189"/>
                    </a:lnTo>
                    <a:lnTo>
                      <a:pt x="269" y="189"/>
                    </a:lnTo>
                    <a:lnTo>
                      <a:pt x="267" y="193"/>
                    </a:lnTo>
                    <a:lnTo>
                      <a:pt x="261" y="194"/>
                    </a:lnTo>
                    <a:lnTo>
                      <a:pt x="253" y="192"/>
                    </a:lnTo>
                    <a:lnTo>
                      <a:pt x="247" y="166"/>
                    </a:lnTo>
                    <a:lnTo>
                      <a:pt x="249" y="163"/>
                    </a:lnTo>
                    <a:lnTo>
                      <a:pt x="248" y="158"/>
                    </a:lnTo>
                    <a:lnTo>
                      <a:pt x="245" y="155"/>
                    </a:lnTo>
                    <a:lnTo>
                      <a:pt x="241" y="155"/>
                    </a:lnTo>
                    <a:lnTo>
                      <a:pt x="238" y="157"/>
                    </a:lnTo>
                    <a:lnTo>
                      <a:pt x="227" y="153"/>
                    </a:lnTo>
                    <a:lnTo>
                      <a:pt x="221" y="153"/>
                    </a:lnTo>
                    <a:lnTo>
                      <a:pt x="217" y="151"/>
                    </a:lnTo>
                    <a:lnTo>
                      <a:pt x="213" y="136"/>
                    </a:lnTo>
                    <a:lnTo>
                      <a:pt x="212" y="132"/>
                    </a:lnTo>
                    <a:lnTo>
                      <a:pt x="177" y="20"/>
                    </a:lnTo>
                    <a:lnTo>
                      <a:pt x="145" y="1"/>
                    </a:lnTo>
                    <a:lnTo>
                      <a:pt x="137" y="0"/>
                    </a:lnTo>
                    <a:lnTo>
                      <a:pt x="129" y="0"/>
                    </a:lnTo>
                    <a:lnTo>
                      <a:pt x="127" y="5"/>
                    </a:lnTo>
                    <a:lnTo>
                      <a:pt x="125" y="10"/>
                    </a:lnTo>
                    <a:lnTo>
                      <a:pt x="121" y="10"/>
                    </a:lnTo>
                    <a:lnTo>
                      <a:pt x="109" y="16"/>
                    </a:lnTo>
                    <a:lnTo>
                      <a:pt x="93" y="29"/>
                    </a:lnTo>
                    <a:lnTo>
                      <a:pt x="89" y="30"/>
                    </a:lnTo>
                    <a:lnTo>
                      <a:pt x="82" y="22"/>
                    </a:lnTo>
                    <a:lnTo>
                      <a:pt x="84" y="11"/>
                    </a:lnTo>
                    <a:lnTo>
                      <a:pt x="81" y="6"/>
                    </a:lnTo>
                    <a:lnTo>
                      <a:pt x="76" y="6"/>
                    </a:lnTo>
                    <a:lnTo>
                      <a:pt x="64" y="11"/>
                    </a:lnTo>
                    <a:lnTo>
                      <a:pt x="38" y="98"/>
                    </a:lnTo>
                    <a:lnTo>
                      <a:pt x="37" y="111"/>
                    </a:lnTo>
                    <a:lnTo>
                      <a:pt x="41" y="117"/>
                    </a:lnTo>
                    <a:lnTo>
                      <a:pt x="42" y="127"/>
                    </a:lnTo>
                    <a:lnTo>
                      <a:pt x="39" y="133"/>
                    </a:lnTo>
                    <a:lnTo>
                      <a:pt x="35" y="137"/>
                    </a:lnTo>
                    <a:lnTo>
                      <a:pt x="32" y="145"/>
                    </a:lnTo>
                    <a:lnTo>
                      <a:pt x="41" y="181"/>
                    </a:lnTo>
                    <a:lnTo>
                      <a:pt x="36" y="192"/>
                    </a:lnTo>
                    <a:lnTo>
                      <a:pt x="36" y="201"/>
                    </a:lnTo>
                    <a:lnTo>
                      <a:pt x="23" y="218"/>
                    </a:lnTo>
                    <a:lnTo>
                      <a:pt x="21" y="225"/>
                    </a:lnTo>
                    <a:lnTo>
                      <a:pt x="26" y="237"/>
                    </a:lnTo>
                    <a:lnTo>
                      <a:pt x="25" y="238"/>
                    </a:lnTo>
                    <a:lnTo>
                      <a:pt x="18" y="238"/>
                    </a:lnTo>
                    <a:lnTo>
                      <a:pt x="19" y="247"/>
                    </a:lnTo>
                    <a:lnTo>
                      <a:pt x="17" y="253"/>
                    </a:lnTo>
                    <a:lnTo>
                      <a:pt x="13" y="252"/>
                    </a:lnTo>
                    <a:lnTo>
                      <a:pt x="7" y="249"/>
                    </a:lnTo>
                    <a:lnTo>
                      <a:pt x="0" y="256"/>
                    </a:lnTo>
                    <a:close/>
                  </a:path>
                </a:pathLst>
              </a:custGeom>
              <a:solidFill>
                <a:srgbClr val="C0C0C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nvGrpSpPr>
              <p:cNvPr id="8" name="Group 5">
                <a:extLst>
                  <a:ext uri="{FF2B5EF4-FFF2-40B4-BE49-F238E27FC236}">
                    <a16:creationId xmlns:a16="http://schemas.microsoft.com/office/drawing/2014/main" id="{3F621E20-43B5-40EA-8EEC-43938531DA6A}"/>
                  </a:ext>
                </a:extLst>
              </p:cNvPr>
              <p:cNvGrpSpPr>
                <a:grpSpLocks/>
              </p:cNvGrpSpPr>
              <p:nvPr/>
            </p:nvGrpSpPr>
            <p:grpSpPr bwMode="auto">
              <a:xfrm>
                <a:off x="1872502" y="1398588"/>
                <a:ext cx="6392861" cy="3803651"/>
                <a:chOff x="1822" y="960"/>
                <a:chExt cx="3717" cy="2396"/>
              </a:xfrm>
              <a:solidFill>
                <a:schemeClr val="accent3"/>
              </a:solidFill>
            </p:grpSpPr>
            <p:grpSp>
              <p:nvGrpSpPr>
                <p:cNvPr id="9" name="Group 6">
                  <a:extLst>
                    <a:ext uri="{FF2B5EF4-FFF2-40B4-BE49-F238E27FC236}">
                      <a16:creationId xmlns:a16="http://schemas.microsoft.com/office/drawing/2014/main" id="{F11636D8-E041-462B-BFFC-2F00AB4ECBBB}"/>
                    </a:ext>
                  </a:extLst>
                </p:cNvPr>
                <p:cNvGrpSpPr>
                  <a:grpSpLocks/>
                </p:cNvGrpSpPr>
                <p:nvPr/>
              </p:nvGrpSpPr>
              <p:grpSpPr bwMode="auto">
                <a:xfrm>
                  <a:off x="4735" y="1971"/>
                  <a:ext cx="588" cy="324"/>
                  <a:chOff x="4770" y="2346"/>
                  <a:chExt cx="711" cy="392"/>
                </a:xfrm>
                <a:grpFill/>
              </p:grpSpPr>
              <p:sp>
                <p:nvSpPr>
                  <p:cNvPr id="62" name="Freeform 7">
                    <a:extLst>
                      <a:ext uri="{FF2B5EF4-FFF2-40B4-BE49-F238E27FC236}">
                        <a16:creationId xmlns:a16="http://schemas.microsoft.com/office/drawing/2014/main" id="{AA6FA3AD-2646-40CC-BF1E-DCAE5B9F6E00}"/>
                      </a:ext>
                    </a:extLst>
                  </p:cNvPr>
                  <p:cNvSpPr>
                    <a:spLocks/>
                  </p:cNvSpPr>
                  <p:nvPr/>
                </p:nvSpPr>
                <p:spPr bwMode="auto">
                  <a:xfrm>
                    <a:off x="4770" y="2346"/>
                    <a:ext cx="687" cy="392"/>
                  </a:xfrm>
                  <a:custGeom>
                    <a:avLst/>
                    <a:gdLst>
                      <a:gd name="T0" fmla="*/ 192 w 619"/>
                      <a:gd name="T1" fmla="*/ 332 h 354"/>
                      <a:gd name="T2" fmla="*/ 156 w 619"/>
                      <a:gd name="T3" fmla="*/ 335 h 354"/>
                      <a:gd name="T4" fmla="*/ 136 w 619"/>
                      <a:gd name="T5" fmla="*/ 338 h 354"/>
                      <a:gd name="T6" fmla="*/ 35 w 619"/>
                      <a:gd name="T7" fmla="*/ 335 h 354"/>
                      <a:gd name="T8" fmla="*/ 55 w 619"/>
                      <a:gd name="T9" fmla="*/ 310 h 354"/>
                      <a:gd name="T10" fmla="*/ 66 w 619"/>
                      <a:gd name="T11" fmla="*/ 292 h 354"/>
                      <a:gd name="T12" fmla="*/ 118 w 619"/>
                      <a:gd name="T13" fmla="*/ 241 h 354"/>
                      <a:gd name="T14" fmla="*/ 131 w 619"/>
                      <a:gd name="T15" fmla="*/ 263 h 354"/>
                      <a:gd name="T16" fmla="*/ 166 w 619"/>
                      <a:gd name="T17" fmla="*/ 262 h 354"/>
                      <a:gd name="T18" fmla="*/ 180 w 619"/>
                      <a:gd name="T19" fmla="*/ 259 h 354"/>
                      <a:gd name="T20" fmla="*/ 210 w 619"/>
                      <a:gd name="T21" fmla="*/ 252 h 354"/>
                      <a:gd name="T22" fmla="*/ 220 w 619"/>
                      <a:gd name="T23" fmla="*/ 243 h 354"/>
                      <a:gd name="T24" fmla="*/ 256 w 619"/>
                      <a:gd name="T25" fmla="*/ 214 h 354"/>
                      <a:gd name="T26" fmla="*/ 267 w 619"/>
                      <a:gd name="T27" fmla="*/ 170 h 354"/>
                      <a:gd name="T28" fmla="*/ 297 w 619"/>
                      <a:gd name="T29" fmla="*/ 109 h 354"/>
                      <a:gd name="T30" fmla="*/ 314 w 619"/>
                      <a:gd name="T31" fmla="*/ 116 h 354"/>
                      <a:gd name="T32" fmla="*/ 333 w 619"/>
                      <a:gd name="T33" fmla="*/ 70 h 354"/>
                      <a:gd name="T34" fmla="*/ 356 w 619"/>
                      <a:gd name="T35" fmla="*/ 57 h 354"/>
                      <a:gd name="T36" fmla="*/ 371 w 619"/>
                      <a:gd name="T37" fmla="*/ 32 h 354"/>
                      <a:gd name="T38" fmla="*/ 370 w 619"/>
                      <a:gd name="T39" fmla="*/ 6 h 354"/>
                      <a:gd name="T40" fmla="*/ 412 w 619"/>
                      <a:gd name="T41" fmla="*/ 23 h 354"/>
                      <a:gd name="T42" fmla="*/ 423 w 619"/>
                      <a:gd name="T43" fmla="*/ 3 h 354"/>
                      <a:gd name="T44" fmla="*/ 444 w 619"/>
                      <a:gd name="T45" fmla="*/ 8 h 354"/>
                      <a:gd name="T46" fmla="*/ 463 w 619"/>
                      <a:gd name="T47" fmla="*/ 26 h 354"/>
                      <a:gd name="T48" fmla="*/ 487 w 619"/>
                      <a:gd name="T49" fmla="*/ 46 h 354"/>
                      <a:gd name="T50" fmla="*/ 469 w 619"/>
                      <a:gd name="T51" fmla="*/ 84 h 354"/>
                      <a:gd name="T52" fmla="*/ 493 w 619"/>
                      <a:gd name="T53" fmla="*/ 90 h 354"/>
                      <a:gd name="T54" fmla="*/ 510 w 619"/>
                      <a:gd name="T55" fmla="*/ 102 h 354"/>
                      <a:gd name="T56" fmla="*/ 525 w 619"/>
                      <a:gd name="T57" fmla="*/ 106 h 354"/>
                      <a:gd name="T58" fmla="*/ 560 w 619"/>
                      <a:gd name="T59" fmla="*/ 120 h 354"/>
                      <a:gd name="T60" fmla="*/ 561 w 619"/>
                      <a:gd name="T61" fmla="*/ 136 h 354"/>
                      <a:gd name="T62" fmla="*/ 557 w 619"/>
                      <a:gd name="T63" fmla="*/ 154 h 354"/>
                      <a:gd name="T64" fmla="*/ 577 w 619"/>
                      <a:gd name="T65" fmla="*/ 172 h 354"/>
                      <a:gd name="T66" fmla="*/ 562 w 619"/>
                      <a:gd name="T67" fmla="*/ 177 h 354"/>
                      <a:gd name="T68" fmla="*/ 567 w 619"/>
                      <a:gd name="T69" fmla="*/ 186 h 354"/>
                      <a:gd name="T70" fmla="*/ 557 w 619"/>
                      <a:gd name="T71" fmla="*/ 192 h 354"/>
                      <a:gd name="T72" fmla="*/ 570 w 619"/>
                      <a:gd name="T73" fmla="*/ 198 h 354"/>
                      <a:gd name="T74" fmla="*/ 572 w 619"/>
                      <a:gd name="T75" fmla="*/ 216 h 354"/>
                      <a:gd name="T76" fmla="*/ 555 w 619"/>
                      <a:gd name="T77" fmla="*/ 217 h 354"/>
                      <a:gd name="T78" fmla="*/ 579 w 619"/>
                      <a:gd name="T79" fmla="*/ 224 h 354"/>
                      <a:gd name="T80" fmla="*/ 609 w 619"/>
                      <a:gd name="T81" fmla="*/ 218 h 354"/>
                      <a:gd name="T82" fmla="*/ 612 w 619"/>
                      <a:gd name="T83" fmla="*/ 2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9" h="354">
                        <a:moveTo>
                          <a:pt x="611" y="258"/>
                        </a:moveTo>
                        <a:lnTo>
                          <a:pt x="407" y="297"/>
                        </a:lnTo>
                        <a:lnTo>
                          <a:pt x="192" y="332"/>
                        </a:lnTo>
                        <a:lnTo>
                          <a:pt x="188" y="330"/>
                        </a:lnTo>
                        <a:lnTo>
                          <a:pt x="179" y="333"/>
                        </a:lnTo>
                        <a:lnTo>
                          <a:pt x="156" y="335"/>
                        </a:lnTo>
                        <a:lnTo>
                          <a:pt x="158" y="331"/>
                        </a:lnTo>
                        <a:lnTo>
                          <a:pt x="136" y="335"/>
                        </a:lnTo>
                        <a:lnTo>
                          <a:pt x="136" y="338"/>
                        </a:lnTo>
                        <a:lnTo>
                          <a:pt x="0" y="354"/>
                        </a:lnTo>
                        <a:lnTo>
                          <a:pt x="6" y="349"/>
                        </a:lnTo>
                        <a:lnTo>
                          <a:pt x="35" y="335"/>
                        </a:lnTo>
                        <a:lnTo>
                          <a:pt x="38" y="328"/>
                        </a:lnTo>
                        <a:lnTo>
                          <a:pt x="54" y="317"/>
                        </a:lnTo>
                        <a:lnTo>
                          <a:pt x="55" y="310"/>
                        </a:lnTo>
                        <a:lnTo>
                          <a:pt x="57" y="306"/>
                        </a:lnTo>
                        <a:lnTo>
                          <a:pt x="65" y="301"/>
                        </a:lnTo>
                        <a:lnTo>
                          <a:pt x="66" y="292"/>
                        </a:lnTo>
                        <a:lnTo>
                          <a:pt x="74" y="285"/>
                        </a:lnTo>
                        <a:lnTo>
                          <a:pt x="116" y="249"/>
                        </a:lnTo>
                        <a:lnTo>
                          <a:pt x="118" y="241"/>
                        </a:lnTo>
                        <a:lnTo>
                          <a:pt x="121" y="243"/>
                        </a:lnTo>
                        <a:lnTo>
                          <a:pt x="118" y="251"/>
                        </a:lnTo>
                        <a:lnTo>
                          <a:pt x="131" y="263"/>
                        </a:lnTo>
                        <a:lnTo>
                          <a:pt x="148" y="270"/>
                        </a:lnTo>
                        <a:lnTo>
                          <a:pt x="156" y="270"/>
                        </a:lnTo>
                        <a:lnTo>
                          <a:pt x="166" y="262"/>
                        </a:lnTo>
                        <a:lnTo>
                          <a:pt x="167" y="257"/>
                        </a:lnTo>
                        <a:lnTo>
                          <a:pt x="173" y="254"/>
                        </a:lnTo>
                        <a:lnTo>
                          <a:pt x="180" y="259"/>
                        </a:lnTo>
                        <a:lnTo>
                          <a:pt x="184" y="262"/>
                        </a:lnTo>
                        <a:lnTo>
                          <a:pt x="190" y="260"/>
                        </a:lnTo>
                        <a:lnTo>
                          <a:pt x="210" y="252"/>
                        </a:lnTo>
                        <a:lnTo>
                          <a:pt x="213" y="239"/>
                        </a:lnTo>
                        <a:lnTo>
                          <a:pt x="216" y="239"/>
                        </a:lnTo>
                        <a:lnTo>
                          <a:pt x="220" y="243"/>
                        </a:lnTo>
                        <a:lnTo>
                          <a:pt x="236" y="229"/>
                        </a:lnTo>
                        <a:lnTo>
                          <a:pt x="242" y="232"/>
                        </a:lnTo>
                        <a:lnTo>
                          <a:pt x="256" y="214"/>
                        </a:lnTo>
                        <a:lnTo>
                          <a:pt x="252" y="207"/>
                        </a:lnTo>
                        <a:lnTo>
                          <a:pt x="253" y="195"/>
                        </a:lnTo>
                        <a:lnTo>
                          <a:pt x="267" y="170"/>
                        </a:lnTo>
                        <a:lnTo>
                          <a:pt x="284" y="103"/>
                        </a:lnTo>
                        <a:lnTo>
                          <a:pt x="288" y="102"/>
                        </a:lnTo>
                        <a:lnTo>
                          <a:pt x="297" y="109"/>
                        </a:lnTo>
                        <a:lnTo>
                          <a:pt x="299" y="113"/>
                        </a:lnTo>
                        <a:lnTo>
                          <a:pt x="304" y="118"/>
                        </a:lnTo>
                        <a:lnTo>
                          <a:pt x="314" y="116"/>
                        </a:lnTo>
                        <a:lnTo>
                          <a:pt x="321" y="104"/>
                        </a:lnTo>
                        <a:lnTo>
                          <a:pt x="328" y="79"/>
                        </a:lnTo>
                        <a:lnTo>
                          <a:pt x="333" y="70"/>
                        </a:lnTo>
                        <a:lnTo>
                          <a:pt x="343" y="74"/>
                        </a:lnTo>
                        <a:lnTo>
                          <a:pt x="349" y="59"/>
                        </a:lnTo>
                        <a:lnTo>
                          <a:pt x="356" y="57"/>
                        </a:lnTo>
                        <a:lnTo>
                          <a:pt x="362" y="49"/>
                        </a:lnTo>
                        <a:lnTo>
                          <a:pt x="367" y="35"/>
                        </a:lnTo>
                        <a:lnTo>
                          <a:pt x="371" y="32"/>
                        </a:lnTo>
                        <a:lnTo>
                          <a:pt x="372" y="29"/>
                        </a:lnTo>
                        <a:lnTo>
                          <a:pt x="369" y="26"/>
                        </a:lnTo>
                        <a:lnTo>
                          <a:pt x="370" y="6"/>
                        </a:lnTo>
                        <a:lnTo>
                          <a:pt x="372" y="2"/>
                        </a:lnTo>
                        <a:lnTo>
                          <a:pt x="375" y="0"/>
                        </a:lnTo>
                        <a:lnTo>
                          <a:pt x="412" y="23"/>
                        </a:lnTo>
                        <a:lnTo>
                          <a:pt x="417" y="25"/>
                        </a:lnTo>
                        <a:lnTo>
                          <a:pt x="419" y="23"/>
                        </a:lnTo>
                        <a:lnTo>
                          <a:pt x="423" y="3"/>
                        </a:lnTo>
                        <a:lnTo>
                          <a:pt x="429" y="3"/>
                        </a:lnTo>
                        <a:lnTo>
                          <a:pt x="436" y="6"/>
                        </a:lnTo>
                        <a:lnTo>
                          <a:pt x="444" y="8"/>
                        </a:lnTo>
                        <a:lnTo>
                          <a:pt x="439" y="16"/>
                        </a:lnTo>
                        <a:lnTo>
                          <a:pt x="448" y="26"/>
                        </a:lnTo>
                        <a:lnTo>
                          <a:pt x="463" y="26"/>
                        </a:lnTo>
                        <a:lnTo>
                          <a:pt x="470" y="33"/>
                        </a:lnTo>
                        <a:lnTo>
                          <a:pt x="480" y="37"/>
                        </a:lnTo>
                        <a:lnTo>
                          <a:pt x="487" y="46"/>
                        </a:lnTo>
                        <a:lnTo>
                          <a:pt x="485" y="50"/>
                        </a:lnTo>
                        <a:lnTo>
                          <a:pt x="476" y="68"/>
                        </a:lnTo>
                        <a:lnTo>
                          <a:pt x="469" y="84"/>
                        </a:lnTo>
                        <a:lnTo>
                          <a:pt x="471" y="95"/>
                        </a:lnTo>
                        <a:lnTo>
                          <a:pt x="483" y="96"/>
                        </a:lnTo>
                        <a:lnTo>
                          <a:pt x="493" y="90"/>
                        </a:lnTo>
                        <a:lnTo>
                          <a:pt x="501" y="99"/>
                        </a:lnTo>
                        <a:lnTo>
                          <a:pt x="506" y="102"/>
                        </a:lnTo>
                        <a:lnTo>
                          <a:pt x="510" y="102"/>
                        </a:lnTo>
                        <a:lnTo>
                          <a:pt x="517" y="108"/>
                        </a:lnTo>
                        <a:lnTo>
                          <a:pt x="520" y="109"/>
                        </a:lnTo>
                        <a:lnTo>
                          <a:pt x="525" y="106"/>
                        </a:lnTo>
                        <a:lnTo>
                          <a:pt x="529" y="106"/>
                        </a:lnTo>
                        <a:lnTo>
                          <a:pt x="547" y="116"/>
                        </a:lnTo>
                        <a:lnTo>
                          <a:pt x="560" y="120"/>
                        </a:lnTo>
                        <a:lnTo>
                          <a:pt x="567" y="128"/>
                        </a:lnTo>
                        <a:lnTo>
                          <a:pt x="566" y="132"/>
                        </a:lnTo>
                        <a:lnTo>
                          <a:pt x="561" y="136"/>
                        </a:lnTo>
                        <a:lnTo>
                          <a:pt x="564" y="149"/>
                        </a:lnTo>
                        <a:lnTo>
                          <a:pt x="561" y="151"/>
                        </a:lnTo>
                        <a:lnTo>
                          <a:pt x="557" y="154"/>
                        </a:lnTo>
                        <a:lnTo>
                          <a:pt x="557" y="155"/>
                        </a:lnTo>
                        <a:lnTo>
                          <a:pt x="572" y="162"/>
                        </a:lnTo>
                        <a:lnTo>
                          <a:pt x="577" y="172"/>
                        </a:lnTo>
                        <a:lnTo>
                          <a:pt x="576" y="176"/>
                        </a:lnTo>
                        <a:lnTo>
                          <a:pt x="573" y="179"/>
                        </a:lnTo>
                        <a:lnTo>
                          <a:pt x="562" y="177"/>
                        </a:lnTo>
                        <a:lnTo>
                          <a:pt x="561" y="182"/>
                        </a:lnTo>
                        <a:lnTo>
                          <a:pt x="565" y="186"/>
                        </a:lnTo>
                        <a:lnTo>
                          <a:pt x="567" y="186"/>
                        </a:lnTo>
                        <a:lnTo>
                          <a:pt x="567" y="190"/>
                        </a:lnTo>
                        <a:lnTo>
                          <a:pt x="561" y="192"/>
                        </a:lnTo>
                        <a:lnTo>
                          <a:pt x="557" y="192"/>
                        </a:lnTo>
                        <a:lnTo>
                          <a:pt x="557" y="194"/>
                        </a:lnTo>
                        <a:lnTo>
                          <a:pt x="561" y="198"/>
                        </a:lnTo>
                        <a:lnTo>
                          <a:pt x="570" y="198"/>
                        </a:lnTo>
                        <a:lnTo>
                          <a:pt x="579" y="202"/>
                        </a:lnTo>
                        <a:lnTo>
                          <a:pt x="581" y="206"/>
                        </a:lnTo>
                        <a:lnTo>
                          <a:pt x="572" y="216"/>
                        </a:lnTo>
                        <a:lnTo>
                          <a:pt x="567" y="216"/>
                        </a:lnTo>
                        <a:lnTo>
                          <a:pt x="555" y="212"/>
                        </a:lnTo>
                        <a:lnTo>
                          <a:pt x="555" y="217"/>
                        </a:lnTo>
                        <a:lnTo>
                          <a:pt x="563" y="221"/>
                        </a:lnTo>
                        <a:lnTo>
                          <a:pt x="570" y="227"/>
                        </a:lnTo>
                        <a:lnTo>
                          <a:pt x="579" y="224"/>
                        </a:lnTo>
                        <a:lnTo>
                          <a:pt x="588" y="218"/>
                        </a:lnTo>
                        <a:lnTo>
                          <a:pt x="597" y="218"/>
                        </a:lnTo>
                        <a:lnTo>
                          <a:pt x="609" y="218"/>
                        </a:lnTo>
                        <a:lnTo>
                          <a:pt x="609" y="219"/>
                        </a:lnTo>
                        <a:lnTo>
                          <a:pt x="619" y="247"/>
                        </a:lnTo>
                        <a:lnTo>
                          <a:pt x="612" y="254"/>
                        </a:lnTo>
                        <a:lnTo>
                          <a:pt x="610" y="254"/>
                        </a:lnTo>
                        <a:lnTo>
                          <a:pt x="611" y="258"/>
                        </a:lnTo>
                        <a:close/>
                      </a:path>
                    </a:pathLst>
                  </a:custGeom>
                  <a:solidFill>
                    <a:schemeClr val="accent2"/>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63" name="Freeform 8">
                    <a:extLst>
                      <a:ext uri="{FF2B5EF4-FFF2-40B4-BE49-F238E27FC236}">
                        <a16:creationId xmlns:a16="http://schemas.microsoft.com/office/drawing/2014/main" id="{2F8A1F56-0F6F-4380-B7B0-4DF19BA27108}"/>
                      </a:ext>
                    </a:extLst>
                  </p:cNvPr>
                  <p:cNvSpPr>
                    <a:spLocks/>
                  </p:cNvSpPr>
                  <p:nvPr/>
                </p:nvSpPr>
                <p:spPr bwMode="auto">
                  <a:xfrm>
                    <a:off x="5433" y="2450"/>
                    <a:ext cx="48" cy="112"/>
                  </a:xfrm>
                  <a:custGeom>
                    <a:avLst/>
                    <a:gdLst>
                      <a:gd name="T0" fmla="*/ 10 w 43"/>
                      <a:gd name="T1" fmla="*/ 16 h 101"/>
                      <a:gd name="T2" fmla="*/ 12 w 43"/>
                      <a:gd name="T3" fmla="*/ 17 h 101"/>
                      <a:gd name="T4" fmla="*/ 13 w 43"/>
                      <a:gd name="T5" fmla="*/ 26 h 101"/>
                      <a:gd name="T6" fmla="*/ 12 w 43"/>
                      <a:gd name="T7" fmla="*/ 31 h 101"/>
                      <a:gd name="T8" fmla="*/ 6 w 43"/>
                      <a:gd name="T9" fmla="*/ 38 h 101"/>
                      <a:gd name="T10" fmla="*/ 3 w 43"/>
                      <a:gd name="T11" fmla="*/ 44 h 101"/>
                      <a:gd name="T12" fmla="*/ 0 w 43"/>
                      <a:gd name="T13" fmla="*/ 60 h 101"/>
                      <a:gd name="T14" fmla="*/ 3 w 43"/>
                      <a:gd name="T15" fmla="*/ 75 h 101"/>
                      <a:gd name="T16" fmla="*/ 3 w 43"/>
                      <a:gd name="T17" fmla="*/ 90 h 101"/>
                      <a:gd name="T18" fmla="*/ 7 w 43"/>
                      <a:gd name="T19" fmla="*/ 101 h 101"/>
                      <a:gd name="T20" fmla="*/ 9 w 43"/>
                      <a:gd name="T21" fmla="*/ 86 h 101"/>
                      <a:gd name="T22" fmla="*/ 14 w 43"/>
                      <a:gd name="T23" fmla="*/ 71 h 101"/>
                      <a:gd name="T24" fmla="*/ 24 w 43"/>
                      <a:gd name="T25" fmla="*/ 48 h 101"/>
                      <a:gd name="T26" fmla="*/ 28 w 43"/>
                      <a:gd name="T27" fmla="*/ 39 h 101"/>
                      <a:gd name="T28" fmla="*/ 30 w 43"/>
                      <a:gd name="T29" fmla="*/ 30 h 101"/>
                      <a:gd name="T30" fmla="*/ 29 w 43"/>
                      <a:gd name="T31" fmla="*/ 17 h 101"/>
                      <a:gd name="T32" fmla="*/ 30 w 43"/>
                      <a:gd name="T33" fmla="*/ 12 h 101"/>
                      <a:gd name="T34" fmla="*/ 41 w 43"/>
                      <a:gd name="T35" fmla="*/ 4 h 101"/>
                      <a:gd name="T36" fmla="*/ 43 w 43"/>
                      <a:gd name="T37" fmla="*/ 0 h 101"/>
                      <a:gd name="T38" fmla="*/ 16 w 43"/>
                      <a:gd name="T39" fmla="*/ 8 h 101"/>
                      <a:gd name="T40" fmla="*/ 10 w 43"/>
                      <a:gd name="T41" fmla="*/ 1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01">
                        <a:moveTo>
                          <a:pt x="10" y="16"/>
                        </a:moveTo>
                        <a:lnTo>
                          <a:pt x="12" y="17"/>
                        </a:lnTo>
                        <a:lnTo>
                          <a:pt x="13" y="26"/>
                        </a:lnTo>
                        <a:lnTo>
                          <a:pt x="12" y="31"/>
                        </a:lnTo>
                        <a:lnTo>
                          <a:pt x="6" y="38"/>
                        </a:lnTo>
                        <a:lnTo>
                          <a:pt x="3" y="44"/>
                        </a:lnTo>
                        <a:lnTo>
                          <a:pt x="0" y="60"/>
                        </a:lnTo>
                        <a:lnTo>
                          <a:pt x="3" y="75"/>
                        </a:lnTo>
                        <a:lnTo>
                          <a:pt x="3" y="90"/>
                        </a:lnTo>
                        <a:lnTo>
                          <a:pt x="7" y="101"/>
                        </a:lnTo>
                        <a:lnTo>
                          <a:pt x="9" y="86"/>
                        </a:lnTo>
                        <a:lnTo>
                          <a:pt x="14" y="71"/>
                        </a:lnTo>
                        <a:lnTo>
                          <a:pt x="24" y="48"/>
                        </a:lnTo>
                        <a:lnTo>
                          <a:pt x="28" y="39"/>
                        </a:lnTo>
                        <a:lnTo>
                          <a:pt x="30" y="30"/>
                        </a:lnTo>
                        <a:lnTo>
                          <a:pt x="29" y="17"/>
                        </a:lnTo>
                        <a:lnTo>
                          <a:pt x="30" y="12"/>
                        </a:lnTo>
                        <a:lnTo>
                          <a:pt x="41" y="4"/>
                        </a:lnTo>
                        <a:lnTo>
                          <a:pt x="43" y="0"/>
                        </a:lnTo>
                        <a:lnTo>
                          <a:pt x="16" y="8"/>
                        </a:lnTo>
                        <a:lnTo>
                          <a:pt x="10" y="16"/>
                        </a:lnTo>
                        <a:close/>
                      </a:path>
                    </a:pathLst>
                  </a:custGeom>
                  <a:solidFill>
                    <a:schemeClr val="accent2"/>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grpSp>
              <p:nvGrpSpPr>
                <p:cNvPr id="10" name="Group 9">
                  <a:extLst>
                    <a:ext uri="{FF2B5EF4-FFF2-40B4-BE49-F238E27FC236}">
                      <a16:creationId xmlns:a16="http://schemas.microsoft.com/office/drawing/2014/main" id="{63D8D3A3-AFD9-42A6-AEBF-4BBAEC5DD22C}"/>
                    </a:ext>
                  </a:extLst>
                </p:cNvPr>
                <p:cNvGrpSpPr>
                  <a:grpSpLocks/>
                </p:cNvGrpSpPr>
                <p:nvPr/>
              </p:nvGrpSpPr>
              <p:grpSpPr bwMode="auto">
                <a:xfrm>
                  <a:off x="1822" y="1564"/>
                  <a:ext cx="595" cy="1017"/>
                  <a:chOff x="1247" y="1854"/>
                  <a:chExt cx="720" cy="1230"/>
                </a:xfrm>
                <a:grpFill/>
              </p:grpSpPr>
              <p:sp>
                <p:nvSpPr>
                  <p:cNvPr id="58" name="Freeform 10">
                    <a:extLst>
                      <a:ext uri="{FF2B5EF4-FFF2-40B4-BE49-F238E27FC236}">
                        <a16:creationId xmlns:a16="http://schemas.microsoft.com/office/drawing/2014/main" id="{5F4876FC-2C58-4C26-AEE3-4E54FC15FDF3}"/>
                      </a:ext>
                    </a:extLst>
                  </p:cNvPr>
                  <p:cNvSpPr>
                    <a:spLocks/>
                  </p:cNvSpPr>
                  <p:nvPr/>
                </p:nvSpPr>
                <p:spPr bwMode="auto">
                  <a:xfrm>
                    <a:off x="1247" y="1854"/>
                    <a:ext cx="720" cy="1230"/>
                  </a:xfrm>
                  <a:custGeom>
                    <a:avLst/>
                    <a:gdLst>
                      <a:gd name="T0" fmla="*/ 366 w 649"/>
                      <a:gd name="T1" fmla="*/ 1083 h 1109"/>
                      <a:gd name="T2" fmla="*/ 368 w 649"/>
                      <a:gd name="T3" fmla="*/ 1067 h 1109"/>
                      <a:gd name="T4" fmla="*/ 361 w 649"/>
                      <a:gd name="T5" fmla="*/ 1055 h 1109"/>
                      <a:gd name="T6" fmla="*/ 344 w 649"/>
                      <a:gd name="T7" fmla="*/ 983 h 1109"/>
                      <a:gd name="T8" fmla="*/ 306 w 649"/>
                      <a:gd name="T9" fmla="*/ 941 h 1109"/>
                      <a:gd name="T10" fmla="*/ 291 w 649"/>
                      <a:gd name="T11" fmla="*/ 925 h 1109"/>
                      <a:gd name="T12" fmla="*/ 282 w 649"/>
                      <a:gd name="T13" fmla="*/ 905 h 1109"/>
                      <a:gd name="T14" fmla="*/ 235 w 649"/>
                      <a:gd name="T15" fmla="*/ 885 h 1109"/>
                      <a:gd name="T16" fmla="*/ 201 w 649"/>
                      <a:gd name="T17" fmla="*/ 849 h 1109"/>
                      <a:gd name="T18" fmla="*/ 137 w 649"/>
                      <a:gd name="T19" fmla="*/ 822 h 1109"/>
                      <a:gd name="T20" fmla="*/ 133 w 649"/>
                      <a:gd name="T21" fmla="*/ 798 h 1109"/>
                      <a:gd name="T22" fmla="*/ 141 w 649"/>
                      <a:gd name="T23" fmla="*/ 765 h 1109"/>
                      <a:gd name="T24" fmla="*/ 127 w 649"/>
                      <a:gd name="T25" fmla="*/ 736 h 1109"/>
                      <a:gd name="T26" fmla="*/ 133 w 649"/>
                      <a:gd name="T27" fmla="*/ 722 h 1109"/>
                      <a:gd name="T28" fmla="*/ 97 w 649"/>
                      <a:gd name="T29" fmla="*/ 658 h 1109"/>
                      <a:gd name="T30" fmla="*/ 73 w 649"/>
                      <a:gd name="T31" fmla="*/ 613 h 1109"/>
                      <a:gd name="T32" fmla="*/ 84 w 649"/>
                      <a:gd name="T33" fmla="*/ 581 h 1109"/>
                      <a:gd name="T34" fmla="*/ 89 w 649"/>
                      <a:gd name="T35" fmla="*/ 549 h 1109"/>
                      <a:gd name="T36" fmla="*/ 58 w 649"/>
                      <a:gd name="T37" fmla="*/ 520 h 1109"/>
                      <a:gd name="T38" fmla="*/ 60 w 649"/>
                      <a:gd name="T39" fmla="*/ 472 h 1109"/>
                      <a:gd name="T40" fmla="*/ 70 w 649"/>
                      <a:gd name="T41" fmla="*/ 453 h 1109"/>
                      <a:gd name="T42" fmla="*/ 74 w 649"/>
                      <a:gd name="T43" fmla="*/ 476 h 1109"/>
                      <a:gd name="T44" fmla="*/ 90 w 649"/>
                      <a:gd name="T45" fmla="*/ 472 h 1109"/>
                      <a:gd name="T46" fmla="*/ 84 w 649"/>
                      <a:gd name="T47" fmla="*/ 428 h 1109"/>
                      <a:gd name="T48" fmla="*/ 73 w 649"/>
                      <a:gd name="T49" fmla="*/ 441 h 1109"/>
                      <a:gd name="T50" fmla="*/ 46 w 649"/>
                      <a:gd name="T51" fmla="*/ 425 h 1109"/>
                      <a:gd name="T52" fmla="*/ 41 w 649"/>
                      <a:gd name="T53" fmla="*/ 373 h 1109"/>
                      <a:gd name="T54" fmla="*/ 6 w 649"/>
                      <a:gd name="T55" fmla="*/ 310 h 1109"/>
                      <a:gd name="T56" fmla="*/ 9 w 649"/>
                      <a:gd name="T57" fmla="*/ 282 h 1109"/>
                      <a:gd name="T58" fmla="*/ 25 w 649"/>
                      <a:gd name="T59" fmla="*/ 242 h 1109"/>
                      <a:gd name="T60" fmla="*/ 12 w 649"/>
                      <a:gd name="T61" fmla="*/ 193 h 1109"/>
                      <a:gd name="T62" fmla="*/ 2 w 649"/>
                      <a:gd name="T63" fmla="*/ 173 h 1109"/>
                      <a:gd name="T64" fmla="*/ 2 w 649"/>
                      <a:gd name="T65" fmla="*/ 146 h 1109"/>
                      <a:gd name="T66" fmla="*/ 41 w 649"/>
                      <a:gd name="T67" fmla="*/ 91 h 1109"/>
                      <a:gd name="T68" fmla="*/ 57 w 649"/>
                      <a:gd name="T69" fmla="*/ 60 h 1109"/>
                      <a:gd name="T70" fmla="*/ 59 w 649"/>
                      <a:gd name="T71" fmla="*/ 6 h 1109"/>
                      <a:gd name="T72" fmla="*/ 290 w 649"/>
                      <a:gd name="T73" fmla="*/ 387 h 1109"/>
                      <a:gd name="T74" fmla="*/ 626 w 649"/>
                      <a:gd name="T75" fmla="*/ 900 h 1109"/>
                      <a:gd name="T76" fmla="*/ 631 w 649"/>
                      <a:gd name="T77" fmla="*/ 926 h 1109"/>
                      <a:gd name="T78" fmla="*/ 642 w 649"/>
                      <a:gd name="T79" fmla="*/ 949 h 1109"/>
                      <a:gd name="T80" fmla="*/ 647 w 649"/>
                      <a:gd name="T81" fmla="*/ 968 h 1109"/>
                      <a:gd name="T82" fmla="*/ 622 w 649"/>
                      <a:gd name="T83" fmla="*/ 978 h 1109"/>
                      <a:gd name="T84" fmla="*/ 590 w 649"/>
                      <a:gd name="T85" fmla="*/ 1039 h 1109"/>
                      <a:gd name="T86" fmla="*/ 583 w 649"/>
                      <a:gd name="T87" fmla="*/ 1052 h 1109"/>
                      <a:gd name="T88" fmla="*/ 582 w 649"/>
                      <a:gd name="T89" fmla="*/ 1077 h 1109"/>
                      <a:gd name="T90" fmla="*/ 591 w 649"/>
                      <a:gd name="T91" fmla="*/ 1095 h 1109"/>
                      <a:gd name="T92" fmla="*/ 578 w 649"/>
                      <a:gd name="T93" fmla="*/ 110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9" h="1109">
                        <a:moveTo>
                          <a:pt x="566" y="1105"/>
                        </a:moveTo>
                        <a:lnTo>
                          <a:pt x="368" y="1086"/>
                        </a:lnTo>
                        <a:lnTo>
                          <a:pt x="366" y="1083"/>
                        </a:lnTo>
                        <a:lnTo>
                          <a:pt x="364" y="1073"/>
                        </a:lnTo>
                        <a:lnTo>
                          <a:pt x="366" y="1068"/>
                        </a:lnTo>
                        <a:lnTo>
                          <a:pt x="368" y="1067"/>
                        </a:lnTo>
                        <a:lnTo>
                          <a:pt x="366" y="1064"/>
                        </a:lnTo>
                        <a:lnTo>
                          <a:pt x="364" y="1064"/>
                        </a:lnTo>
                        <a:lnTo>
                          <a:pt x="361" y="1055"/>
                        </a:lnTo>
                        <a:lnTo>
                          <a:pt x="362" y="1052"/>
                        </a:lnTo>
                        <a:lnTo>
                          <a:pt x="361" y="1019"/>
                        </a:lnTo>
                        <a:lnTo>
                          <a:pt x="344" y="983"/>
                        </a:lnTo>
                        <a:lnTo>
                          <a:pt x="334" y="973"/>
                        </a:lnTo>
                        <a:lnTo>
                          <a:pt x="326" y="958"/>
                        </a:lnTo>
                        <a:lnTo>
                          <a:pt x="306" y="941"/>
                        </a:lnTo>
                        <a:lnTo>
                          <a:pt x="294" y="941"/>
                        </a:lnTo>
                        <a:lnTo>
                          <a:pt x="287" y="934"/>
                        </a:lnTo>
                        <a:lnTo>
                          <a:pt x="291" y="925"/>
                        </a:lnTo>
                        <a:lnTo>
                          <a:pt x="288" y="918"/>
                        </a:lnTo>
                        <a:lnTo>
                          <a:pt x="289" y="913"/>
                        </a:lnTo>
                        <a:lnTo>
                          <a:pt x="282" y="905"/>
                        </a:lnTo>
                        <a:lnTo>
                          <a:pt x="262" y="902"/>
                        </a:lnTo>
                        <a:lnTo>
                          <a:pt x="250" y="897"/>
                        </a:lnTo>
                        <a:lnTo>
                          <a:pt x="235" y="885"/>
                        </a:lnTo>
                        <a:lnTo>
                          <a:pt x="226" y="862"/>
                        </a:lnTo>
                        <a:lnTo>
                          <a:pt x="214" y="853"/>
                        </a:lnTo>
                        <a:lnTo>
                          <a:pt x="201" y="849"/>
                        </a:lnTo>
                        <a:lnTo>
                          <a:pt x="164" y="833"/>
                        </a:lnTo>
                        <a:lnTo>
                          <a:pt x="152" y="833"/>
                        </a:lnTo>
                        <a:lnTo>
                          <a:pt x="137" y="822"/>
                        </a:lnTo>
                        <a:lnTo>
                          <a:pt x="127" y="813"/>
                        </a:lnTo>
                        <a:lnTo>
                          <a:pt x="127" y="805"/>
                        </a:lnTo>
                        <a:lnTo>
                          <a:pt x="133" y="798"/>
                        </a:lnTo>
                        <a:lnTo>
                          <a:pt x="136" y="781"/>
                        </a:lnTo>
                        <a:lnTo>
                          <a:pt x="138" y="769"/>
                        </a:lnTo>
                        <a:lnTo>
                          <a:pt x="141" y="765"/>
                        </a:lnTo>
                        <a:lnTo>
                          <a:pt x="138" y="752"/>
                        </a:lnTo>
                        <a:lnTo>
                          <a:pt x="128" y="747"/>
                        </a:lnTo>
                        <a:lnTo>
                          <a:pt x="127" y="736"/>
                        </a:lnTo>
                        <a:lnTo>
                          <a:pt x="130" y="733"/>
                        </a:lnTo>
                        <a:lnTo>
                          <a:pt x="132" y="733"/>
                        </a:lnTo>
                        <a:lnTo>
                          <a:pt x="133" y="722"/>
                        </a:lnTo>
                        <a:lnTo>
                          <a:pt x="123" y="714"/>
                        </a:lnTo>
                        <a:lnTo>
                          <a:pt x="98" y="670"/>
                        </a:lnTo>
                        <a:lnTo>
                          <a:pt x="97" y="658"/>
                        </a:lnTo>
                        <a:lnTo>
                          <a:pt x="92" y="649"/>
                        </a:lnTo>
                        <a:lnTo>
                          <a:pt x="90" y="639"/>
                        </a:lnTo>
                        <a:lnTo>
                          <a:pt x="73" y="613"/>
                        </a:lnTo>
                        <a:lnTo>
                          <a:pt x="74" y="588"/>
                        </a:lnTo>
                        <a:lnTo>
                          <a:pt x="79" y="583"/>
                        </a:lnTo>
                        <a:lnTo>
                          <a:pt x="84" y="581"/>
                        </a:lnTo>
                        <a:lnTo>
                          <a:pt x="93" y="572"/>
                        </a:lnTo>
                        <a:lnTo>
                          <a:pt x="94" y="555"/>
                        </a:lnTo>
                        <a:lnTo>
                          <a:pt x="89" y="549"/>
                        </a:lnTo>
                        <a:lnTo>
                          <a:pt x="76" y="543"/>
                        </a:lnTo>
                        <a:lnTo>
                          <a:pt x="63" y="532"/>
                        </a:lnTo>
                        <a:lnTo>
                          <a:pt x="58" y="520"/>
                        </a:lnTo>
                        <a:lnTo>
                          <a:pt x="59" y="485"/>
                        </a:lnTo>
                        <a:lnTo>
                          <a:pt x="62" y="481"/>
                        </a:lnTo>
                        <a:lnTo>
                          <a:pt x="60" y="472"/>
                        </a:lnTo>
                        <a:lnTo>
                          <a:pt x="64" y="470"/>
                        </a:lnTo>
                        <a:lnTo>
                          <a:pt x="66" y="454"/>
                        </a:lnTo>
                        <a:lnTo>
                          <a:pt x="70" y="453"/>
                        </a:lnTo>
                        <a:lnTo>
                          <a:pt x="73" y="459"/>
                        </a:lnTo>
                        <a:lnTo>
                          <a:pt x="73" y="472"/>
                        </a:lnTo>
                        <a:lnTo>
                          <a:pt x="74" y="476"/>
                        </a:lnTo>
                        <a:lnTo>
                          <a:pt x="86" y="485"/>
                        </a:lnTo>
                        <a:lnTo>
                          <a:pt x="89" y="481"/>
                        </a:lnTo>
                        <a:lnTo>
                          <a:pt x="90" y="472"/>
                        </a:lnTo>
                        <a:lnTo>
                          <a:pt x="84" y="453"/>
                        </a:lnTo>
                        <a:lnTo>
                          <a:pt x="82" y="442"/>
                        </a:lnTo>
                        <a:lnTo>
                          <a:pt x="84" y="428"/>
                        </a:lnTo>
                        <a:lnTo>
                          <a:pt x="82" y="427"/>
                        </a:lnTo>
                        <a:lnTo>
                          <a:pt x="73" y="436"/>
                        </a:lnTo>
                        <a:lnTo>
                          <a:pt x="73" y="441"/>
                        </a:lnTo>
                        <a:lnTo>
                          <a:pt x="70" y="446"/>
                        </a:lnTo>
                        <a:lnTo>
                          <a:pt x="58" y="442"/>
                        </a:lnTo>
                        <a:lnTo>
                          <a:pt x="46" y="425"/>
                        </a:lnTo>
                        <a:lnTo>
                          <a:pt x="35" y="421"/>
                        </a:lnTo>
                        <a:lnTo>
                          <a:pt x="41" y="409"/>
                        </a:lnTo>
                        <a:lnTo>
                          <a:pt x="41" y="373"/>
                        </a:lnTo>
                        <a:lnTo>
                          <a:pt x="25" y="355"/>
                        </a:lnTo>
                        <a:lnTo>
                          <a:pt x="18" y="341"/>
                        </a:lnTo>
                        <a:lnTo>
                          <a:pt x="6" y="310"/>
                        </a:lnTo>
                        <a:lnTo>
                          <a:pt x="13" y="300"/>
                        </a:lnTo>
                        <a:lnTo>
                          <a:pt x="10" y="290"/>
                        </a:lnTo>
                        <a:lnTo>
                          <a:pt x="9" y="282"/>
                        </a:lnTo>
                        <a:lnTo>
                          <a:pt x="15" y="259"/>
                        </a:lnTo>
                        <a:lnTo>
                          <a:pt x="22" y="248"/>
                        </a:lnTo>
                        <a:lnTo>
                          <a:pt x="25" y="242"/>
                        </a:lnTo>
                        <a:lnTo>
                          <a:pt x="22" y="220"/>
                        </a:lnTo>
                        <a:lnTo>
                          <a:pt x="13" y="199"/>
                        </a:lnTo>
                        <a:lnTo>
                          <a:pt x="12" y="193"/>
                        </a:lnTo>
                        <a:lnTo>
                          <a:pt x="10" y="188"/>
                        </a:lnTo>
                        <a:lnTo>
                          <a:pt x="5" y="183"/>
                        </a:lnTo>
                        <a:lnTo>
                          <a:pt x="2" y="173"/>
                        </a:lnTo>
                        <a:lnTo>
                          <a:pt x="0" y="160"/>
                        </a:lnTo>
                        <a:lnTo>
                          <a:pt x="2" y="156"/>
                        </a:lnTo>
                        <a:lnTo>
                          <a:pt x="2" y="146"/>
                        </a:lnTo>
                        <a:lnTo>
                          <a:pt x="12" y="129"/>
                        </a:lnTo>
                        <a:lnTo>
                          <a:pt x="41" y="97"/>
                        </a:lnTo>
                        <a:lnTo>
                          <a:pt x="41" y="91"/>
                        </a:lnTo>
                        <a:lnTo>
                          <a:pt x="43" y="78"/>
                        </a:lnTo>
                        <a:lnTo>
                          <a:pt x="50" y="72"/>
                        </a:lnTo>
                        <a:lnTo>
                          <a:pt x="57" y="60"/>
                        </a:lnTo>
                        <a:lnTo>
                          <a:pt x="59" y="32"/>
                        </a:lnTo>
                        <a:lnTo>
                          <a:pt x="54" y="20"/>
                        </a:lnTo>
                        <a:lnTo>
                          <a:pt x="59" y="6"/>
                        </a:lnTo>
                        <a:lnTo>
                          <a:pt x="63" y="0"/>
                        </a:lnTo>
                        <a:lnTo>
                          <a:pt x="367" y="84"/>
                        </a:lnTo>
                        <a:lnTo>
                          <a:pt x="290" y="387"/>
                        </a:lnTo>
                        <a:lnTo>
                          <a:pt x="626" y="880"/>
                        </a:lnTo>
                        <a:lnTo>
                          <a:pt x="625" y="894"/>
                        </a:lnTo>
                        <a:lnTo>
                          <a:pt x="626" y="900"/>
                        </a:lnTo>
                        <a:lnTo>
                          <a:pt x="625" y="904"/>
                        </a:lnTo>
                        <a:lnTo>
                          <a:pt x="631" y="917"/>
                        </a:lnTo>
                        <a:lnTo>
                          <a:pt x="631" y="926"/>
                        </a:lnTo>
                        <a:lnTo>
                          <a:pt x="634" y="933"/>
                        </a:lnTo>
                        <a:lnTo>
                          <a:pt x="638" y="945"/>
                        </a:lnTo>
                        <a:lnTo>
                          <a:pt x="642" y="949"/>
                        </a:lnTo>
                        <a:lnTo>
                          <a:pt x="647" y="955"/>
                        </a:lnTo>
                        <a:lnTo>
                          <a:pt x="649" y="965"/>
                        </a:lnTo>
                        <a:lnTo>
                          <a:pt x="647" y="968"/>
                        </a:lnTo>
                        <a:lnTo>
                          <a:pt x="644" y="965"/>
                        </a:lnTo>
                        <a:lnTo>
                          <a:pt x="634" y="974"/>
                        </a:lnTo>
                        <a:lnTo>
                          <a:pt x="622" y="978"/>
                        </a:lnTo>
                        <a:lnTo>
                          <a:pt x="613" y="990"/>
                        </a:lnTo>
                        <a:lnTo>
                          <a:pt x="606" y="1018"/>
                        </a:lnTo>
                        <a:lnTo>
                          <a:pt x="590" y="1039"/>
                        </a:lnTo>
                        <a:lnTo>
                          <a:pt x="582" y="1039"/>
                        </a:lnTo>
                        <a:lnTo>
                          <a:pt x="581" y="1045"/>
                        </a:lnTo>
                        <a:lnTo>
                          <a:pt x="583" y="1052"/>
                        </a:lnTo>
                        <a:lnTo>
                          <a:pt x="582" y="1057"/>
                        </a:lnTo>
                        <a:lnTo>
                          <a:pt x="578" y="1070"/>
                        </a:lnTo>
                        <a:lnTo>
                          <a:pt x="582" y="1077"/>
                        </a:lnTo>
                        <a:lnTo>
                          <a:pt x="593" y="1086"/>
                        </a:lnTo>
                        <a:lnTo>
                          <a:pt x="594" y="1090"/>
                        </a:lnTo>
                        <a:lnTo>
                          <a:pt x="591" y="1095"/>
                        </a:lnTo>
                        <a:lnTo>
                          <a:pt x="590" y="1101"/>
                        </a:lnTo>
                        <a:lnTo>
                          <a:pt x="582" y="1109"/>
                        </a:lnTo>
                        <a:lnTo>
                          <a:pt x="578" y="1108"/>
                        </a:lnTo>
                        <a:lnTo>
                          <a:pt x="566" y="1105"/>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9" name="Freeform 11">
                    <a:extLst>
                      <a:ext uri="{FF2B5EF4-FFF2-40B4-BE49-F238E27FC236}">
                        <a16:creationId xmlns:a16="http://schemas.microsoft.com/office/drawing/2014/main" id="{BE08DDC3-B2A1-4F97-A6C1-2DEC9F135702}"/>
                      </a:ext>
                    </a:extLst>
                  </p:cNvPr>
                  <p:cNvSpPr>
                    <a:spLocks/>
                  </p:cNvSpPr>
                  <p:nvPr/>
                </p:nvSpPr>
                <p:spPr bwMode="auto">
                  <a:xfrm>
                    <a:off x="1533" y="2965"/>
                    <a:ext cx="20" cy="34"/>
                  </a:xfrm>
                  <a:custGeom>
                    <a:avLst/>
                    <a:gdLst>
                      <a:gd name="T0" fmla="*/ 0 w 18"/>
                      <a:gd name="T1" fmla="*/ 0 h 31"/>
                      <a:gd name="T2" fmla="*/ 18 w 18"/>
                      <a:gd name="T3" fmla="*/ 31 h 31"/>
                      <a:gd name="T4" fmla="*/ 9 w 18"/>
                      <a:gd name="T5" fmla="*/ 31 h 31"/>
                      <a:gd name="T6" fmla="*/ 0 w 18"/>
                      <a:gd name="T7" fmla="*/ 0 h 31"/>
                    </a:gdLst>
                    <a:ahLst/>
                    <a:cxnLst>
                      <a:cxn ang="0">
                        <a:pos x="T0" y="T1"/>
                      </a:cxn>
                      <a:cxn ang="0">
                        <a:pos x="T2" y="T3"/>
                      </a:cxn>
                      <a:cxn ang="0">
                        <a:pos x="T4" y="T5"/>
                      </a:cxn>
                      <a:cxn ang="0">
                        <a:pos x="T6" y="T7"/>
                      </a:cxn>
                    </a:cxnLst>
                    <a:rect l="0" t="0" r="r" b="b"/>
                    <a:pathLst>
                      <a:path w="18" h="31">
                        <a:moveTo>
                          <a:pt x="0" y="0"/>
                        </a:moveTo>
                        <a:lnTo>
                          <a:pt x="18" y="31"/>
                        </a:lnTo>
                        <a:lnTo>
                          <a:pt x="9" y="31"/>
                        </a:lnTo>
                        <a:lnTo>
                          <a:pt x="0"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60" name="Freeform 12">
                    <a:extLst>
                      <a:ext uri="{FF2B5EF4-FFF2-40B4-BE49-F238E27FC236}">
                        <a16:creationId xmlns:a16="http://schemas.microsoft.com/office/drawing/2014/main" id="{3EAFB083-DAF2-4F4C-9A24-7D8B975DA537}"/>
                      </a:ext>
                    </a:extLst>
                  </p:cNvPr>
                  <p:cNvSpPr>
                    <a:spLocks/>
                  </p:cNvSpPr>
                  <p:nvPr/>
                </p:nvSpPr>
                <p:spPr bwMode="auto">
                  <a:xfrm>
                    <a:off x="1448" y="2810"/>
                    <a:ext cx="25" cy="22"/>
                  </a:xfrm>
                  <a:custGeom>
                    <a:avLst/>
                    <a:gdLst>
                      <a:gd name="T0" fmla="*/ 0 w 23"/>
                      <a:gd name="T1" fmla="*/ 0 h 19"/>
                      <a:gd name="T2" fmla="*/ 23 w 23"/>
                      <a:gd name="T3" fmla="*/ 16 h 19"/>
                      <a:gd name="T4" fmla="*/ 6 w 23"/>
                      <a:gd name="T5" fmla="*/ 19 h 19"/>
                      <a:gd name="T6" fmla="*/ 0 w 23"/>
                      <a:gd name="T7" fmla="*/ 0 h 19"/>
                    </a:gdLst>
                    <a:ahLst/>
                    <a:cxnLst>
                      <a:cxn ang="0">
                        <a:pos x="T0" y="T1"/>
                      </a:cxn>
                      <a:cxn ang="0">
                        <a:pos x="T2" y="T3"/>
                      </a:cxn>
                      <a:cxn ang="0">
                        <a:pos x="T4" y="T5"/>
                      </a:cxn>
                      <a:cxn ang="0">
                        <a:pos x="T6" y="T7"/>
                      </a:cxn>
                    </a:cxnLst>
                    <a:rect l="0" t="0" r="r" b="b"/>
                    <a:pathLst>
                      <a:path w="23" h="19">
                        <a:moveTo>
                          <a:pt x="0" y="0"/>
                        </a:moveTo>
                        <a:lnTo>
                          <a:pt x="23" y="16"/>
                        </a:lnTo>
                        <a:lnTo>
                          <a:pt x="6" y="19"/>
                        </a:lnTo>
                        <a:lnTo>
                          <a:pt x="0"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61" name="Freeform 13">
                    <a:extLst>
                      <a:ext uri="{FF2B5EF4-FFF2-40B4-BE49-F238E27FC236}">
                        <a16:creationId xmlns:a16="http://schemas.microsoft.com/office/drawing/2014/main" id="{24F38E7E-E5F5-4263-BF43-2A95B70304B9}"/>
                      </a:ext>
                    </a:extLst>
                  </p:cNvPr>
                  <p:cNvSpPr>
                    <a:spLocks/>
                  </p:cNvSpPr>
                  <p:nvPr/>
                </p:nvSpPr>
                <p:spPr bwMode="auto">
                  <a:xfrm>
                    <a:off x="1413" y="2809"/>
                    <a:ext cx="19" cy="16"/>
                  </a:xfrm>
                  <a:custGeom>
                    <a:avLst/>
                    <a:gdLst>
                      <a:gd name="T0" fmla="*/ 0 w 17"/>
                      <a:gd name="T1" fmla="*/ 3 h 14"/>
                      <a:gd name="T2" fmla="*/ 11 w 17"/>
                      <a:gd name="T3" fmla="*/ 0 h 14"/>
                      <a:gd name="T4" fmla="*/ 17 w 17"/>
                      <a:gd name="T5" fmla="*/ 14 h 14"/>
                      <a:gd name="T6" fmla="*/ 0 w 17"/>
                      <a:gd name="T7" fmla="*/ 3 h 14"/>
                    </a:gdLst>
                    <a:ahLst/>
                    <a:cxnLst>
                      <a:cxn ang="0">
                        <a:pos x="T0" y="T1"/>
                      </a:cxn>
                      <a:cxn ang="0">
                        <a:pos x="T2" y="T3"/>
                      </a:cxn>
                      <a:cxn ang="0">
                        <a:pos x="T4" y="T5"/>
                      </a:cxn>
                      <a:cxn ang="0">
                        <a:pos x="T6" y="T7"/>
                      </a:cxn>
                    </a:cxnLst>
                    <a:rect l="0" t="0" r="r" b="b"/>
                    <a:pathLst>
                      <a:path w="17" h="14">
                        <a:moveTo>
                          <a:pt x="0" y="3"/>
                        </a:moveTo>
                        <a:lnTo>
                          <a:pt x="11" y="0"/>
                        </a:lnTo>
                        <a:lnTo>
                          <a:pt x="17" y="14"/>
                        </a:lnTo>
                        <a:lnTo>
                          <a:pt x="0" y="3"/>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sp>
              <p:nvSpPr>
                <p:cNvPr id="11" name="Freeform 14">
                  <a:extLst>
                    <a:ext uri="{FF2B5EF4-FFF2-40B4-BE49-F238E27FC236}">
                      <a16:creationId xmlns:a16="http://schemas.microsoft.com/office/drawing/2014/main" id="{8CF6F16B-CD1B-41CB-8E50-1EF8A036E8F8}"/>
                    </a:ext>
                  </a:extLst>
                </p:cNvPr>
                <p:cNvSpPr>
                  <a:spLocks/>
                </p:cNvSpPr>
                <p:nvPr/>
              </p:nvSpPr>
              <p:spPr bwMode="auto">
                <a:xfrm>
                  <a:off x="2088" y="1641"/>
                  <a:ext cx="477" cy="730"/>
                </a:xfrm>
                <a:custGeom>
                  <a:avLst/>
                  <a:gdLst>
                    <a:gd name="T0" fmla="*/ 77 w 519"/>
                    <a:gd name="T1" fmla="*/ 0 h 796"/>
                    <a:gd name="T2" fmla="*/ 0 w 519"/>
                    <a:gd name="T3" fmla="*/ 303 h 796"/>
                    <a:gd name="T4" fmla="*/ 336 w 519"/>
                    <a:gd name="T5" fmla="*/ 796 h 796"/>
                    <a:gd name="T6" fmla="*/ 335 w 519"/>
                    <a:gd name="T7" fmla="*/ 791 h 796"/>
                    <a:gd name="T8" fmla="*/ 339 w 519"/>
                    <a:gd name="T9" fmla="*/ 784 h 796"/>
                    <a:gd name="T10" fmla="*/ 345 w 519"/>
                    <a:gd name="T11" fmla="*/ 762 h 796"/>
                    <a:gd name="T12" fmla="*/ 341 w 519"/>
                    <a:gd name="T13" fmla="*/ 755 h 796"/>
                    <a:gd name="T14" fmla="*/ 346 w 519"/>
                    <a:gd name="T15" fmla="*/ 706 h 796"/>
                    <a:gd name="T16" fmla="*/ 343 w 519"/>
                    <a:gd name="T17" fmla="*/ 687 h 796"/>
                    <a:gd name="T18" fmla="*/ 347 w 519"/>
                    <a:gd name="T19" fmla="*/ 682 h 796"/>
                    <a:gd name="T20" fmla="*/ 359 w 519"/>
                    <a:gd name="T21" fmla="*/ 680 h 796"/>
                    <a:gd name="T22" fmla="*/ 375 w 519"/>
                    <a:gd name="T23" fmla="*/ 684 h 796"/>
                    <a:gd name="T24" fmla="*/ 380 w 519"/>
                    <a:gd name="T25" fmla="*/ 691 h 796"/>
                    <a:gd name="T26" fmla="*/ 380 w 519"/>
                    <a:gd name="T27" fmla="*/ 694 h 796"/>
                    <a:gd name="T28" fmla="*/ 386 w 519"/>
                    <a:gd name="T29" fmla="*/ 701 h 796"/>
                    <a:gd name="T30" fmla="*/ 395 w 519"/>
                    <a:gd name="T31" fmla="*/ 701 h 796"/>
                    <a:gd name="T32" fmla="*/ 410 w 519"/>
                    <a:gd name="T33" fmla="*/ 657 h 796"/>
                    <a:gd name="T34" fmla="*/ 421 w 519"/>
                    <a:gd name="T35" fmla="*/ 605 h 796"/>
                    <a:gd name="T36" fmla="*/ 519 w 519"/>
                    <a:gd name="T37" fmla="*/ 97 h 796"/>
                    <a:gd name="T38" fmla="*/ 296 w 519"/>
                    <a:gd name="T39" fmla="*/ 51 h 796"/>
                    <a:gd name="T40" fmla="*/ 77 w 519"/>
                    <a:gd name="T41"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9" h="796">
                      <a:moveTo>
                        <a:pt x="77" y="0"/>
                      </a:moveTo>
                      <a:lnTo>
                        <a:pt x="0" y="303"/>
                      </a:lnTo>
                      <a:lnTo>
                        <a:pt x="336" y="796"/>
                      </a:lnTo>
                      <a:lnTo>
                        <a:pt x="335" y="791"/>
                      </a:lnTo>
                      <a:lnTo>
                        <a:pt x="339" y="784"/>
                      </a:lnTo>
                      <a:lnTo>
                        <a:pt x="345" y="762"/>
                      </a:lnTo>
                      <a:lnTo>
                        <a:pt x="341" y="755"/>
                      </a:lnTo>
                      <a:lnTo>
                        <a:pt x="346" y="706"/>
                      </a:lnTo>
                      <a:lnTo>
                        <a:pt x="343" y="687"/>
                      </a:lnTo>
                      <a:lnTo>
                        <a:pt x="347" y="682"/>
                      </a:lnTo>
                      <a:lnTo>
                        <a:pt x="359" y="680"/>
                      </a:lnTo>
                      <a:lnTo>
                        <a:pt x="375" y="684"/>
                      </a:lnTo>
                      <a:lnTo>
                        <a:pt x="380" y="691"/>
                      </a:lnTo>
                      <a:lnTo>
                        <a:pt x="380" y="694"/>
                      </a:lnTo>
                      <a:lnTo>
                        <a:pt x="386" y="701"/>
                      </a:lnTo>
                      <a:lnTo>
                        <a:pt x="395" y="701"/>
                      </a:lnTo>
                      <a:lnTo>
                        <a:pt x="410" y="657"/>
                      </a:lnTo>
                      <a:lnTo>
                        <a:pt x="421" y="605"/>
                      </a:lnTo>
                      <a:lnTo>
                        <a:pt x="519" y="97"/>
                      </a:lnTo>
                      <a:lnTo>
                        <a:pt x="296" y="51"/>
                      </a:lnTo>
                      <a:lnTo>
                        <a:pt x="77"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2" name="Freeform 15">
                  <a:extLst>
                    <a:ext uri="{FF2B5EF4-FFF2-40B4-BE49-F238E27FC236}">
                      <a16:creationId xmlns:a16="http://schemas.microsoft.com/office/drawing/2014/main" id="{037F28B7-1C58-4A4E-8FC3-86DD4BBB8F40}"/>
                    </a:ext>
                  </a:extLst>
                </p:cNvPr>
                <p:cNvSpPr>
                  <a:spLocks/>
                </p:cNvSpPr>
                <p:nvPr/>
              </p:nvSpPr>
              <p:spPr bwMode="auto">
                <a:xfrm>
                  <a:off x="2335" y="2196"/>
                  <a:ext cx="508" cy="588"/>
                </a:xfrm>
                <a:custGeom>
                  <a:avLst/>
                  <a:gdLst>
                    <a:gd name="T0" fmla="*/ 472 w 554"/>
                    <a:gd name="T1" fmla="*/ 640 h 640"/>
                    <a:gd name="T2" fmla="*/ 554 w 554"/>
                    <a:gd name="T3" fmla="*/ 63 h 640"/>
                    <a:gd name="T4" fmla="*/ 152 w 554"/>
                    <a:gd name="T5" fmla="*/ 0 h 640"/>
                    <a:gd name="T6" fmla="*/ 141 w 554"/>
                    <a:gd name="T7" fmla="*/ 52 h 640"/>
                    <a:gd name="T8" fmla="*/ 126 w 554"/>
                    <a:gd name="T9" fmla="*/ 96 h 640"/>
                    <a:gd name="T10" fmla="*/ 117 w 554"/>
                    <a:gd name="T11" fmla="*/ 96 h 640"/>
                    <a:gd name="T12" fmla="*/ 111 w 554"/>
                    <a:gd name="T13" fmla="*/ 89 h 640"/>
                    <a:gd name="T14" fmla="*/ 111 w 554"/>
                    <a:gd name="T15" fmla="*/ 86 h 640"/>
                    <a:gd name="T16" fmla="*/ 106 w 554"/>
                    <a:gd name="T17" fmla="*/ 79 h 640"/>
                    <a:gd name="T18" fmla="*/ 90 w 554"/>
                    <a:gd name="T19" fmla="*/ 75 h 640"/>
                    <a:gd name="T20" fmla="*/ 78 w 554"/>
                    <a:gd name="T21" fmla="*/ 77 h 640"/>
                    <a:gd name="T22" fmla="*/ 74 w 554"/>
                    <a:gd name="T23" fmla="*/ 82 h 640"/>
                    <a:gd name="T24" fmla="*/ 77 w 554"/>
                    <a:gd name="T25" fmla="*/ 101 h 640"/>
                    <a:gd name="T26" fmla="*/ 72 w 554"/>
                    <a:gd name="T27" fmla="*/ 150 h 640"/>
                    <a:gd name="T28" fmla="*/ 76 w 554"/>
                    <a:gd name="T29" fmla="*/ 157 h 640"/>
                    <a:gd name="T30" fmla="*/ 70 w 554"/>
                    <a:gd name="T31" fmla="*/ 179 h 640"/>
                    <a:gd name="T32" fmla="*/ 66 w 554"/>
                    <a:gd name="T33" fmla="*/ 186 h 640"/>
                    <a:gd name="T34" fmla="*/ 67 w 554"/>
                    <a:gd name="T35" fmla="*/ 191 h 640"/>
                    <a:gd name="T36" fmla="*/ 66 w 554"/>
                    <a:gd name="T37" fmla="*/ 205 h 640"/>
                    <a:gd name="T38" fmla="*/ 67 w 554"/>
                    <a:gd name="T39" fmla="*/ 211 h 640"/>
                    <a:gd name="T40" fmla="*/ 66 w 554"/>
                    <a:gd name="T41" fmla="*/ 215 h 640"/>
                    <a:gd name="T42" fmla="*/ 72 w 554"/>
                    <a:gd name="T43" fmla="*/ 228 h 640"/>
                    <a:gd name="T44" fmla="*/ 72 w 554"/>
                    <a:gd name="T45" fmla="*/ 237 h 640"/>
                    <a:gd name="T46" fmla="*/ 75 w 554"/>
                    <a:gd name="T47" fmla="*/ 244 h 640"/>
                    <a:gd name="T48" fmla="*/ 79 w 554"/>
                    <a:gd name="T49" fmla="*/ 256 h 640"/>
                    <a:gd name="T50" fmla="*/ 83 w 554"/>
                    <a:gd name="T51" fmla="*/ 260 h 640"/>
                    <a:gd name="T52" fmla="*/ 88 w 554"/>
                    <a:gd name="T53" fmla="*/ 266 h 640"/>
                    <a:gd name="T54" fmla="*/ 90 w 554"/>
                    <a:gd name="T55" fmla="*/ 276 h 640"/>
                    <a:gd name="T56" fmla="*/ 88 w 554"/>
                    <a:gd name="T57" fmla="*/ 279 h 640"/>
                    <a:gd name="T58" fmla="*/ 85 w 554"/>
                    <a:gd name="T59" fmla="*/ 276 h 640"/>
                    <a:gd name="T60" fmla="*/ 75 w 554"/>
                    <a:gd name="T61" fmla="*/ 285 h 640"/>
                    <a:gd name="T62" fmla="*/ 63 w 554"/>
                    <a:gd name="T63" fmla="*/ 289 h 640"/>
                    <a:gd name="T64" fmla="*/ 54 w 554"/>
                    <a:gd name="T65" fmla="*/ 301 h 640"/>
                    <a:gd name="T66" fmla="*/ 47 w 554"/>
                    <a:gd name="T67" fmla="*/ 329 h 640"/>
                    <a:gd name="T68" fmla="*/ 31 w 554"/>
                    <a:gd name="T69" fmla="*/ 350 h 640"/>
                    <a:gd name="T70" fmla="*/ 23 w 554"/>
                    <a:gd name="T71" fmla="*/ 350 h 640"/>
                    <a:gd name="T72" fmla="*/ 22 w 554"/>
                    <a:gd name="T73" fmla="*/ 356 h 640"/>
                    <a:gd name="T74" fmla="*/ 24 w 554"/>
                    <a:gd name="T75" fmla="*/ 363 h 640"/>
                    <a:gd name="T76" fmla="*/ 23 w 554"/>
                    <a:gd name="T77" fmla="*/ 368 h 640"/>
                    <a:gd name="T78" fmla="*/ 19 w 554"/>
                    <a:gd name="T79" fmla="*/ 381 h 640"/>
                    <a:gd name="T80" fmla="*/ 23 w 554"/>
                    <a:gd name="T81" fmla="*/ 388 h 640"/>
                    <a:gd name="T82" fmla="*/ 34 w 554"/>
                    <a:gd name="T83" fmla="*/ 397 h 640"/>
                    <a:gd name="T84" fmla="*/ 35 w 554"/>
                    <a:gd name="T85" fmla="*/ 401 h 640"/>
                    <a:gd name="T86" fmla="*/ 32 w 554"/>
                    <a:gd name="T87" fmla="*/ 406 h 640"/>
                    <a:gd name="T88" fmla="*/ 31 w 554"/>
                    <a:gd name="T89" fmla="*/ 412 h 640"/>
                    <a:gd name="T90" fmla="*/ 23 w 554"/>
                    <a:gd name="T91" fmla="*/ 420 h 640"/>
                    <a:gd name="T92" fmla="*/ 19 w 554"/>
                    <a:gd name="T93" fmla="*/ 419 h 640"/>
                    <a:gd name="T94" fmla="*/ 7 w 554"/>
                    <a:gd name="T95" fmla="*/ 416 h 640"/>
                    <a:gd name="T96" fmla="*/ 0 w 554"/>
                    <a:gd name="T97" fmla="*/ 440 h 640"/>
                    <a:gd name="T98" fmla="*/ 299 w 554"/>
                    <a:gd name="T99" fmla="*/ 612 h 640"/>
                    <a:gd name="T100" fmla="*/ 472 w 554"/>
                    <a:gd name="T101" fmla="*/ 64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640">
                      <a:moveTo>
                        <a:pt x="472" y="640"/>
                      </a:moveTo>
                      <a:lnTo>
                        <a:pt x="554" y="63"/>
                      </a:lnTo>
                      <a:lnTo>
                        <a:pt x="152" y="0"/>
                      </a:lnTo>
                      <a:lnTo>
                        <a:pt x="141" y="52"/>
                      </a:lnTo>
                      <a:lnTo>
                        <a:pt x="126" y="96"/>
                      </a:lnTo>
                      <a:lnTo>
                        <a:pt x="117" y="96"/>
                      </a:lnTo>
                      <a:lnTo>
                        <a:pt x="111" y="89"/>
                      </a:lnTo>
                      <a:lnTo>
                        <a:pt x="111" y="86"/>
                      </a:lnTo>
                      <a:lnTo>
                        <a:pt x="106" y="79"/>
                      </a:lnTo>
                      <a:lnTo>
                        <a:pt x="90" y="75"/>
                      </a:lnTo>
                      <a:lnTo>
                        <a:pt x="78" y="77"/>
                      </a:lnTo>
                      <a:lnTo>
                        <a:pt x="74" y="82"/>
                      </a:lnTo>
                      <a:lnTo>
                        <a:pt x="77" y="101"/>
                      </a:lnTo>
                      <a:lnTo>
                        <a:pt x="72" y="150"/>
                      </a:lnTo>
                      <a:lnTo>
                        <a:pt x="76" y="157"/>
                      </a:lnTo>
                      <a:lnTo>
                        <a:pt x="70" y="179"/>
                      </a:lnTo>
                      <a:lnTo>
                        <a:pt x="66" y="186"/>
                      </a:lnTo>
                      <a:lnTo>
                        <a:pt x="67" y="191"/>
                      </a:lnTo>
                      <a:lnTo>
                        <a:pt x="66" y="205"/>
                      </a:lnTo>
                      <a:lnTo>
                        <a:pt x="67" y="211"/>
                      </a:lnTo>
                      <a:lnTo>
                        <a:pt x="66" y="215"/>
                      </a:lnTo>
                      <a:lnTo>
                        <a:pt x="72" y="228"/>
                      </a:lnTo>
                      <a:lnTo>
                        <a:pt x="72" y="237"/>
                      </a:lnTo>
                      <a:lnTo>
                        <a:pt x="75" y="244"/>
                      </a:lnTo>
                      <a:lnTo>
                        <a:pt x="79" y="256"/>
                      </a:lnTo>
                      <a:lnTo>
                        <a:pt x="83" y="260"/>
                      </a:lnTo>
                      <a:lnTo>
                        <a:pt x="88" y="266"/>
                      </a:lnTo>
                      <a:lnTo>
                        <a:pt x="90" y="276"/>
                      </a:lnTo>
                      <a:lnTo>
                        <a:pt x="88" y="279"/>
                      </a:lnTo>
                      <a:lnTo>
                        <a:pt x="85" y="276"/>
                      </a:lnTo>
                      <a:lnTo>
                        <a:pt x="75" y="285"/>
                      </a:lnTo>
                      <a:lnTo>
                        <a:pt x="63" y="289"/>
                      </a:lnTo>
                      <a:lnTo>
                        <a:pt x="54" y="301"/>
                      </a:lnTo>
                      <a:lnTo>
                        <a:pt x="47" y="329"/>
                      </a:lnTo>
                      <a:lnTo>
                        <a:pt x="31" y="350"/>
                      </a:lnTo>
                      <a:lnTo>
                        <a:pt x="23" y="350"/>
                      </a:lnTo>
                      <a:lnTo>
                        <a:pt x="22" y="356"/>
                      </a:lnTo>
                      <a:lnTo>
                        <a:pt x="24" y="363"/>
                      </a:lnTo>
                      <a:lnTo>
                        <a:pt x="23" y="368"/>
                      </a:lnTo>
                      <a:lnTo>
                        <a:pt x="19" y="381"/>
                      </a:lnTo>
                      <a:lnTo>
                        <a:pt x="23" y="388"/>
                      </a:lnTo>
                      <a:lnTo>
                        <a:pt x="34" y="397"/>
                      </a:lnTo>
                      <a:lnTo>
                        <a:pt x="35" y="401"/>
                      </a:lnTo>
                      <a:lnTo>
                        <a:pt x="32" y="406"/>
                      </a:lnTo>
                      <a:lnTo>
                        <a:pt x="31" y="412"/>
                      </a:lnTo>
                      <a:lnTo>
                        <a:pt x="23" y="420"/>
                      </a:lnTo>
                      <a:lnTo>
                        <a:pt x="19" y="419"/>
                      </a:lnTo>
                      <a:lnTo>
                        <a:pt x="7" y="416"/>
                      </a:lnTo>
                      <a:lnTo>
                        <a:pt x="0" y="440"/>
                      </a:lnTo>
                      <a:lnTo>
                        <a:pt x="299" y="612"/>
                      </a:lnTo>
                      <a:lnTo>
                        <a:pt x="472" y="64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3" name="Freeform 16">
                  <a:extLst>
                    <a:ext uri="{FF2B5EF4-FFF2-40B4-BE49-F238E27FC236}">
                      <a16:creationId xmlns:a16="http://schemas.microsoft.com/office/drawing/2014/main" id="{CFFD31DD-1C6E-4607-AA73-C4128FD18599}"/>
                    </a:ext>
                  </a:extLst>
                </p:cNvPr>
                <p:cNvSpPr>
                  <a:spLocks/>
                </p:cNvSpPr>
                <p:nvPr/>
              </p:nvSpPr>
              <p:spPr bwMode="auto">
                <a:xfrm>
                  <a:off x="2768" y="2253"/>
                  <a:ext cx="521" cy="537"/>
                </a:xfrm>
                <a:custGeom>
                  <a:avLst/>
                  <a:gdLst>
                    <a:gd name="T0" fmla="*/ 82 w 568"/>
                    <a:gd name="T1" fmla="*/ 0 h 585"/>
                    <a:gd name="T2" fmla="*/ 0 w 568"/>
                    <a:gd name="T3" fmla="*/ 577 h 585"/>
                    <a:gd name="T4" fmla="*/ 75 w 568"/>
                    <a:gd name="T5" fmla="*/ 585 h 585"/>
                    <a:gd name="T6" fmla="*/ 80 w 568"/>
                    <a:gd name="T7" fmla="*/ 541 h 585"/>
                    <a:gd name="T8" fmla="*/ 221 w 568"/>
                    <a:gd name="T9" fmla="*/ 558 h 585"/>
                    <a:gd name="T10" fmla="*/ 220 w 568"/>
                    <a:gd name="T11" fmla="*/ 557 h 585"/>
                    <a:gd name="T12" fmla="*/ 216 w 568"/>
                    <a:gd name="T13" fmla="*/ 549 h 585"/>
                    <a:gd name="T14" fmla="*/ 220 w 568"/>
                    <a:gd name="T15" fmla="*/ 542 h 585"/>
                    <a:gd name="T16" fmla="*/ 219 w 568"/>
                    <a:gd name="T17" fmla="*/ 541 h 585"/>
                    <a:gd name="T18" fmla="*/ 216 w 568"/>
                    <a:gd name="T19" fmla="*/ 537 h 585"/>
                    <a:gd name="T20" fmla="*/ 218 w 568"/>
                    <a:gd name="T21" fmla="*/ 536 h 585"/>
                    <a:gd name="T22" fmla="*/ 524 w 568"/>
                    <a:gd name="T23" fmla="*/ 565 h 585"/>
                    <a:gd name="T24" fmla="*/ 561 w 568"/>
                    <a:gd name="T25" fmla="*/ 104 h 585"/>
                    <a:gd name="T26" fmla="*/ 565 w 568"/>
                    <a:gd name="T27" fmla="*/ 104 h 585"/>
                    <a:gd name="T28" fmla="*/ 568 w 568"/>
                    <a:gd name="T29" fmla="*/ 54 h 585"/>
                    <a:gd name="T30" fmla="*/ 82 w 568"/>
                    <a:gd name="T3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8" h="585">
                      <a:moveTo>
                        <a:pt x="82" y="0"/>
                      </a:moveTo>
                      <a:lnTo>
                        <a:pt x="0" y="577"/>
                      </a:lnTo>
                      <a:lnTo>
                        <a:pt x="75" y="585"/>
                      </a:lnTo>
                      <a:lnTo>
                        <a:pt x="80" y="541"/>
                      </a:lnTo>
                      <a:lnTo>
                        <a:pt x="221" y="558"/>
                      </a:lnTo>
                      <a:lnTo>
                        <a:pt x="220" y="557"/>
                      </a:lnTo>
                      <a:lnTo>
                        <a:pt x="216" y="549"/>
                      </a:lnTo>
                      <a:lnTo>
                        <a:pt x="220" y="542"/>
                      </a:lnTo>
                      <a:lnTo>
                        <a:pt x="219" y="541"/>
                      </a:lnTo>
                      <a:lnTo>
                        <a:pt x="216" y="537"/>
                      </a:lnTo>
                      <a:lnTo>
                        <a:pt x="218" y="536"/>
                      </a:lnTo>
                      <a:lnTo>
                        <a:pt x="524" y="565"/>
                      </a:lnTo>
                      <a:lnTo>
                        <a:pt x="561" y="104"/>
                      </a:lnTo>
                      <a:lnTo>
                        <a:pt x="565" y="104"/>
                      </a:lnTo>
                      <a:lnTo>
                        <a:pt x="568" y="54"/>
                      </a:lnTo>
                      <a:lnTo>
                        <a:pt x="82" y="0"/>
                      </a:lnTo>
                      <a:close/>
                    </a:path>
                  </a:pathLst>
                </a:custGeom>
                <a:grpFill/>
                <a:ln w="63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nvGrpSpPr>
                <p:cNvPr id="14" name="Group 17">
                  <a:extLst>
                    <a:ext uri="{FF2B5EF4-FFF2-40B4-BE49-F238E27FC236}">
                      <a16:creationId xmlns:a16="http://schemas.microsoft.com/office/drawing/2014/main" id="{AB0045A2-EB87-4612-814A-1BFE59F79576}"/>
                    </a:ext>
                  </a:extLst>
                </p:cNvPr>
                <p:cNvGrpSpPr>
                  <a:grpSpLocks/>
                </p:cNvGrpSpPr>
                <p:nvPr/>
              </p:nvGrpSpPr>
              <p:grpSpPr bwMode="auto">
                <a:xfrm>
                  <a:off x="2966" y="2346"/>
                  <a:ext cx="1051" cy="1010"/>
                  <a:chOff x="2610" y="2817"/>
                  <a:chExt cx="1261" cy="1228"/>
                </a:xfrm>
                <a:grpFill/>
              </p:grpSpPr>
              <p:sp>
                <p:nvSpPr>
                  <p:cNvPr id="56" name="Freeform 18">
                    <a:extLst>
                      <a:ext uri="{FF2B5EF4-FFF2-40B4-BE49-F238E27FC236}">
                        <a16:creationId xmlns:a16="http://schemas.microsoft.com/office/drawing/2014/main" id="{7E433BE9-AC4A-424D-8249-7EC0C6D1D93D}"/>
                      </a:ext>
                    </a:extLst>
                  </p:cNvPr>
                  <p:cNvSpPr>
                    <a:spLocks/>
                  </p:cNvSpPr>
                  <p:nvPr/>
                </p:nvSpPr>
                <p:spPr bwMode="auto">
                  <a:xfrm>
                    <a:off x="3533" y="3755"/>
                    <a:ext cx="60" cy="62"/>
                  </a:xfrm>
                  <a:custGeom>
                    <a:avLst/>
                    <a:gdLst>
                      <a:gd name="T0" fmla="*/ 14 w 54"/>
                      <a:gd name="T1" fmla="*/ 32 h 56"/>
                      <a:gd name="T2" fmla="*/ 54 w 54"/>
                      <a:gd name="T3" fmla="*/ 0 h 56"/>
                      <a:gd name="T4" fmla="*/ 7 w 54"/>
                      <a:gd name="T5" fmla="*/ 56 h 56"/>
                      <a:gd name="T6" fmla="*/ 0 w 54"/>
                      <a:gd name="T7" fmla="*/ 53 h 56"/>
                      <a:gd name="T8" fmla="*/ 14 w 54"/>
                      <a:gd name="T9" fmla="*/ 32 h 56"/>
                    </a:gdLst>
                    <a:ahLst/>
                    <a:cxnLst>
                      <a:cxn ang="0">
                        <a:pos x="T0" y="T1"/>
                      </a:cxn>
                      <a:cxn ang="0">
                        <a:pos x="T2" y="T3"/>
                      </a:cxn>
                      <a:cxn ang="0">
                        <a:pos x="T4" y="T5"/>
                      </a:cxn>
                      <a:cxn ang="0">
                        <a:pos x="T6" y="T7"/>
                      </a:cxn>
                      <a:cxn ang="0">
                        <a:pos x="T8" y="T9"/>
                      </a:cxn>
                    </a:cxnLst>
                    <a:rect l="0" t="0" r="r" b="b"/>
                    <a:pathLst>
                      <a:path w="54" h="56">
                        <a:moveTo>
                          <a:pt x="14" y="32"/>
                        </a:moveTo>
                        <a:lnTo>
                          <a:pt x="54" y="0"/>
                        </a:lnTo>
                        <a:lnTo>
                          <a:pt x="7" y="56"/>
                        </a:lnTo>
                        <a:lnTo>
                          <a:pt x="0" y="53"/>
                        </a:lnTo>
                        <a:lnTo>
                          <a:pt x="14" y="32"/>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7" name="Freeform 19">
                    <a:extLst>
                      <a:ext uri="{FF2B5EF4-FFF2-40B4-BE49-F238E27FC236}">
                        <a16:creationId xmlns:a16="http://schemas.microsoft.com/office/drawing/2014/main" id="{661C11C7-1935-4812-999A-D434A648DDB5}"/>
                      </a:ext>
                    </a:extLst>
                  </p:cNvPr>
                  <p:cNvSpPr>
                    <a:spLocks/>
                  </p:cNvSpPr>
                  <p:nvPr/>
                </p:nvSpPr>
                <p:spPr bwMode="auto">
                  <a:xfrm>
                    <a:off x="2610" y="2817"/>
                    <a:ext cx="1261" cy="1228"/>
                  </a:xfrm>
                  <a:custGeom>
                    <a:avLst/>
                    <a:gdLst>
                      <a:gd name="T0" fmla="*/ 1032 w 1136"/>
                      <a:gd name="T1" fmla="*/ 304 h 1107"/>
                      <a:gd name="T2" fmla="*/ 958 w 1136"/>
                      <a:gd name="T3" fmla="*/ 286 h 1107"/>
                      <a:gd name="T4" fmla="*/ 912 w 1136"/>
                      <a:gd name="T5" fmla="*/ 294 h 1107"/>
                      <a:gd name="T6" fmla="*/ 872 w 1136"/>
                      <a:gd name="T7" fmla="*/ 294 h 1107"/>
                      <a:gd name="T8" fmla="*/ 860 w 1136"/>
                      <a:gd name="T9" fmla="*/ 294 h 1107"/>
                      <a:gd name="T10" fmla="*/ 843 w 1136"/>
                      <a:gd name="T11" fmla="*/ 284 h 1107"/>
                      <a:gd name="T12" fmla="*/ 824 w 1136"/>
                      <a:gd name="T13" fmla="*/ 307 h 1107"/>
                      <a:gd name="T14" fmla="*/ 814 w 1136"/>
                      <a:gd name="T15" fmla="*/ 288 h 1107"/>
                      <a:gd name="T16" fmla="*/ 776 w 1136"/>
                      <a:gd name="T17" fmla="*/ 281 h 1107"/>
                      <a:gd name="T18" fmla="*/ 753 w 1136"/>
                      <a:gd name="T19" fmla="*/ 277 h 1107"/>
                      <a:gd name="T20" fmla="*/ 716 w 1136"/>
                      <a:gd name="T21" fmla="*/ 269 h 1107"/>
                      <a:gd name="T22" fmla="*/ 694 w 1136"/>
                      <a:gd name="T23" fmla="*/ 260 h 1107"/>
                      <a:gd name="T24" fmla="*/ 656 w 1136"/>
                      <a:gd name="T25" fmla="*/ 250 h 1107"/>
                      <a:gd name="T26" fmla="*/ 640 w 1136"/>
                      <a:gd name="T27" fmla="*/ 229 h 1107"/>
                      <a:gd name="T28" fmla="*/ 600 w 1136"/>
                      <a:gd name="T29" fmla="*/ 217 h 1107"/>
                      <a:gd name="T30" fmla="*/ 349 w 1136"/>
                      <a:gd name="T31" fmla="*/ 0 h 1107"/>
                      <a:gd name="T32" fmla="*/ 0 w 1136"/>
                      <a:gd name="T33" fmla="*/ 433 h 1107"/>
                      <a:gd name="T34" fmla="*/ 4 w 1136"/>
                      <a:gd name="T35" fmla="*/ 453 h 1107"/>
                      <a:gd name="T36" fmla="*/ 32 w 1136"/>
                      <a:gd name="T37" fmla="*/ 489 h 1107"/>
                      <a:gd name="T38" fmla="*/ 138 w 1136"/>
                      <a:gd name="T39" fmla="*/ 594 h 1107"/>
                      <a:gd name="T40" fmla="*/ 152 w 1136"/>
                      <a:gd name="T41" fmla="*/ 629 h 1107"/>
                      <a:gd name="T42" fmla="*/ 228 w 1136"/>
                      <a:gd name="T43" fmla="*/ 739 h 1107"/>
                      <a:gd name="T44" fmla="*/ 296 w 1136"/>
                      <a:gd name="T45" fmla="*/ 751 h 1107"/>
                      <a:gd name="T46" fmla="*/ 336 w 1136"/>
                      <a:gd name="T47" fmla="*/ 689 h 1107"/>
                      <a:gd name="T48" fmla="*/ 360 w 1136"/>
                      <a:gd name="T49" fmla="*/ 681 h 1107"/>
                      <a:gd name="T50" fmla="*/ 404 w 1136"/>
                      <a:gd name="T51" fmla="*/ 696 h 1107"/>
                      <a:gd name="T52" fmla="*/ 449 w 1136"/>
                      <a:gd name="T53" fmla="*/ 717 h 1107"/>
                      <a:gd name="T54" fmla="*/ 465 w 1136"/>
                      <a:gd name="T55" fmla="*/ 729 h 1107"/>
                      <a:gd name="T56" fmla="*/ 503 w 1136"/>
                      <a:gd name="T57" fmla="*/ 778 h 1107"/>
                      <a:gd name="T58" fmla="*/ 564 w 1136"/>
                      <a:gd name="T59" fmla="*/ 895 h 1107"/>
                      <a:gd name="T60" fmla="*/ 600 w 1136"/>
                      <a:gd name="T61" fmla="*/ 935 h 1107"/>
                      <a:gd name="T62" fmla="*/ 614 w 1136"/>
                      <a:gd name="T63" fmla="*/ 997 h 1107"/>
                      <a:gd name="T64" fmla="*/ 667 w 1136"/>
                      <a:gd name="T65" fmla="*/ 1059 h 1107"/>
                      <a:gd name="T66" fmla="*/ 761 w 1136"/>
                      <a:gd name="T67" fmla="*/ 1088 h 1107"/>
                      <a:gd name="T68" fmla="*/ 811 w 1136"/>
                      <a:gd name="T69" fmla="*/ 1097 h 1107"/>
                      <a:gd name="T70" fmla="*/ 807 w 1136"/>
                      <a:gd name="T71" fmla="*/ 1082 h 1107"/>
                      <a:gd name="T72" fmla="*/ 788 w 1136"/>
                      <a:gd name="T73" fmla="*/ 976 h 1107"/>
                      <a:gd name="T74" fmla="*/ 780 w 1136"/>
                      <a:gd name="T75" fmla="*/ 962 h 1107"/>
                      <a:gd name="T76" fmla="*/ 803 w 1136"/>
                      <a:gd name="T77" fmla="*/ 924 h 1107"/>
                      <a:gd name="T78" fmla="*/ 809 w 1136"/>
                      <a:gd name="T79" fmla="*/ 907 h 1107"/>
                      <a:gd name="T80" fmla="*/ 824 w 1136"/>
                      <a:gd name="T81" fmla="*/ 871 h 1107"/>
                      <a:gd name="T82" fmla="*/ 839 w 1136"/>
                      <a:gd name="T83" fmla="*/ 872 h 1107"/>
                      <a:gd name="T84" fmla="*/ 848 w 1136"/>
                      <a:gd name="T85" fmla="*/ 856 h 1107"/>
                      <a:gd name="T86" fmla="*/ 860 w 1136"/>
                      <a:gd name="T87" fmla="*/ 854 h 1107"/>
                      <a:gd name="T88" fmla="*/ 884 w 1136"/>
                      <a:gd name="T89" fmla="*/ 841 h 1107"/>
                      <a:gd name="T90" fmla="*/ 896 w 1136"/>
                      <a:gd name="T91" fmla="*/ 821 h 1107"/>
                      <a:gd name="T92" fmla="*/ 904 w 1136"/>
                      <a:gd name="T93" fmla="*/ 829 h 1107"/>
                      <a:gd name="T94" fmla="*/ 994 w 1136"/>
                      <a:gd name="T95" fmla="*/ 782 h 1107"/>
                      <a:gd name="T96" fmla="*/ 1011 w 1136"/>
                      <a:gd name="T97" fmla="*/ 731 h 1107"/>
                      <a:gd name="T98" fmla="*/ 1030 w 1136"/>
                      <a:gd name="T99" fmla="*/ 726 h 1107"/>
                      <a:gd name="T100" fmla="*/ 1090 w 1136"/>
                      <a:gd name="T101" fmla="*/ 717 h 1107"/>
                      <a:gd name="T102" fmla="*/ 1108 w 1136"/>
                      <a:gd name="T103" fmla="*/ 707 h 1107"/>
                      <a:gd name="T104" fmla="*/ 1117 w 1136"/>
                      <a:gd name="T105" fmla="*/ 685 h 1107"/>
                      <a:gd name="T106" fmla="*/ 1121 w 1136"/>
                      <a:gd name="T107" fmla="*/ 641 h 1107"/>
                      <a:gd name="T108" fmla="*/ 1133 w 1136"/>
                      <a:gd name="T109" fmla="*/ 607 h 1107"/>
                      <a:gd name="T110" fmla="*/ 1126 w 1136"/>
                      <a:gd name="T111" fmla="*/ 550 h 1107"/>
                      <a:gd name="T112" fmla="*/ 1117 w 1136"/>
                      <a:gd name="T113" fmla="*/ 528 h 1107"/>
                      <a:gd name="T114" fmla="*/ 1105 w 1136"/>
                      <a:gd name="T115" fmla="*/ 494 h 1107"/>
                      <a:gd name="T116" fmla="*/ 1087 w 1136"/>
                      <a:gd name="T117" fmla="*/ 320 h 1107"/>
                      <a:gd name="T118" fmla="*/ 1046 w 1136"/>
                      <a:gd name="T119" fmla="*/ 311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6" h="1107">
                        <a:moveTo>
                          <a:pt x="1046" y="311"/>
                        </a:moveTo>
                        <a:lnTo>
                          <a:pt x="1042" y="310"/>
                        </a:lnTo>
                        <a:lnTo>
                          <a:pt x="1039" y="306"/>
                        </a:lnTo>
                        <a:lnTo>
                          <a:pt x="1032" y="304"/>
                        </a:lnTo>
                        <a:lnTo>
                          <a:pt x="991" y="282"/>
                        </a:lnTo>
                        <a:lnTo>
                          <a:pt x="989" y="285"/>
                        </a:lnTo>
                        <a:lnTo>
                          <a:pt x="977" y="289"/>
                        </a:lnTo>
                        <a:lnTo>
                          <a:pt x="958" y="286"/>
                        </a:lnTo>
                        <a:lnTo>
                          <a:pt x="951" y="286"/>
                        </a:lnTo>
                        <a:lnTo>
                          <a:pt x="945" y="287"/>
                        </a:lnTo>
                        <a:lnTo>
                          <a:pt x="930" y="293"/>
                        </a:lnTo>
                        <a:lnTo>
                          <a:pt x="912" y="294"/>
                        </a:lnTo>
                        <a:lnTo>
                          <a:pt x="907" y="297"/>
                        </a:lnTo>
                        <a:lnTo>
                          <a:pt x="893" y="307"/>
                        </a:lnTo>
                        <a:lnTo>
                          <a:pt x="881" y="298"/>
                        </a:lnTo>
                        <a:lnTo>
                          <a:pt x="872" y="294"/>
                        </a:lnTo>
                        <a:lnTo>
                          <a:pt x="872" y="292"/>
                        </a:lnTo>
                        <a:lnTo>
                          <a:pt x="870" y="290"/>
                        </a:lnTo>
                        <a:lnTo>
                          <a:pt x="864" y="289"/>
                        </a:lnTo>
                        <a:lnTo>
                          <a:pt x="860" y="294"/>
                        </a:lnTo>
                        <a:lnTo>
                          <a:pt x="856" y="294"/>
                        </a:lnTo>
                        <a:lnTo>
                          <a:pt x="847" y="291"/>
                        </a:lnTo>
                        <a:lnTo>
                          <a:pt x="846" y="285"/>
                        </a:lnTo>
                        <a:lnTo>
                          <a:pt x="843" y="284"/>
                        </a:lnTo>
                        <a:lnTo>
                          <a:pt x="835" y="289"/>
                        </a:lnTo>
                        <a:lnTo>
                          <a:pt x="828" y="297"/>
                        </a:lnTo>
                        <a:lnTo>
                          <a:pt x="829" y="303"/>
                        </a:lnTo>
                        <a:lnTo>
                          <a:pt x="824" y="307"/>
                        </a:lnTo>
                        <a:lnTo>
                          <a:pt x="820" y="301"/>
                        </a:lnTo>
                        <a:lnTo>
                          <a:pt x="822" y="292"/>
                        </a:lnTo>
                        <a:lnTo>
                          <a:pt x="821" y="288"/>
                        </a:lnTo>
                        <a:lnTo>
                          <a:pt x="814" y="288"/>
                        </a:lnTo>
                        <a:lnTo>
                          <a:pt x="805" y="294"/>
                        </a:lnTo>
                        <a:lnTo>
                          <a:pt x="802" y="294"/>
                        </a:lnTo>
                        <a:lnTo>
                          <a:pt x="782" y="279"/>
                        </a:lnTo>
                        <a:lnTo>
                          <a:pt x="776" y="281"/>
                        </a:lnTo>
                        <a:lnTo>
                          <a:pt x="772" y="292"/>
                        </a:lnTo>
                        <a:lnTo>
                          <a:pt x="756" y="289"/>
                        </a:lnTo>
                        <a:lnTo>
                          <a:pt x="756" y="278"/>
                        </a:lnTo>
                        <a:lnTo>
                          <a:pt x="753" y="277"/>
                        </a:lnTo>
                        <a:lnTo>
                          <a:pt x="744" y="269"/>
                        </a:lnTo>
                        <a:lnTo>
                          <a:pt x="744" y="265"/>
                        </a:lnTo>
                        <a:lnTo>
                          <a:pt x="722" y="262"/>
                        </a:lnTo>
                        <a:lnTo>
                          <a:pt x="716" y="269"/>
                        </a:lnTo>
                        <a:lnTo>
                          <a:pt x="708" y="265"/>
                        </a:lnTo>
                        <a:lnTo>
                          <a:pt x="702" y="257"/>
                        </a:lnTo>
                        <a:lnTo>
                          <a:pt x="696" y="258"/>
                        </a:lnTo>
                        <a:lnTo>
                          <a:pt x="694" y="260"/>
                        </a:lnTo>
                        <a:lnTo>
                          <a:pt x="689" y="260"/>
                        </a:lnTo>
                        <a:lnTo>
                          <a:pt x="681" y="256"/>
                        </a:lnTo>
                        <a:lnTo>
                          <a:pt x="659" y="252"/>
                        </a:lnTo>
                        <a:lnTo>
                          <a:pt x="656" y="250"/>
                        </a:lnTo>
                        <a:lnTo>
                          <a:pt x="652" y="243"/>
                        </a:lnTo>
                        <a:lnTo>
                          <a:pt x="652" y="238"/>
                        </a:lnTo>
                        <a:lnTo>
                          <a:pt x="650" y="233"/>
                        </a:lnTo>
                        <a:lnTo>
                          <a:pt x="640" y="229"/>
                        </a:lnTo>
                        <a:lnTo>
                          <a:pt x="635" y="233"/>
                        </a:lnTo>
                        <a:lnTo>
                          <a:pt x="618" y="235"/>
                        </a:lnTo>
                        <a:lnTo>
                          <a:pt x="612" y="233"/>
                        </a:lnTo>
                        <a:lnTo>
                          <a:pt x="600" y="217"/>
                        </a:lnTo>
                        <a:lnTo>
                          <a:pt x="596" y="213"/>
                        </a:lnTo>
                        <a:lnTo>
                          <a:pt x="587" y="212"/>
                        </a:lnTo>
                        <a:lnTo>
                          <a:pt x="593" y="14"/>
                        </a:lnTo>
                        <a:lnTo>
                          <a:pt x="349" y="0"/>
                        </a:lnTo>
                        <a:lnTo>
                          <a:pt x="345" y="0"/>
                        </a:lnTo>
                        <a:lnTo>
                          <a:pt x="308" y="461"/>
                        </a:lnTo>
                        <a:lnTo>
                          <a:pt x="2" y="432"/>
                        </a:lnTo>
                        <a:lnTo>
                          <a:pt x="0" y="433"/>
                        </a:lnTo>
                        <a:lnTo>
                          <a:pt x="3" y="437"/>
                        </a:lnTo>
                        <a:lnTo>
                          <a:pt x="4" y="438"/>
                        </a:lnTo>
                        <a:lnTo>
                          <a:pt x="0" y="445"/>
                        </a:lnTo>
                        <a:lnTo>
                          <a:pt x="4" y="453"/>
                        </a:lnTo>
                        <a:lnTo>
                          <a:pt x="5" y="454"/>
                        </a:lnTo>
                        <a:lnTo>
                          <a:pt x="21" y="465"/>
                        </a:lnTo>
                        <a:lnTo>
                          <a:pt x="25" y="475"/>
                        </a:lnTo>
                        <a:lnTo>
                          <a:pt x="32" y="489"/>
                        </a:lnTo>
                        <a:lnTo>
                          <a:pt x="48" y="500"/>
                        </a:lnTo>
                        <a:lnTo>
                          <a:pt x="95" y="557"/>
                        </a:lnTo>
                        <a:lnTo>
                          <a:pt x="135" y="589"/>
                        </a:lnTo>
                        <a:lnTo>
                          <a:pt x="138" y="594"/>
                        </a:lnTo>
                        <a:lnTo>
                          <a:pt x="140" y="601"/>
                        </a:lnTo>
                        <a:lnTo>
                          <a:pt x="140" y="610"/>
                        </a:lnTo>
                        <a:lnTo>
                          <a:pt x="143" y="615"/>
                        </a:lnTo>
                        <a:lnTo>
                          <a:pt x="152" y="629"/>
                        </a:lnTo>
                        <a:lnTo>
                          <a:pt x="151" y="662"/>
                        </a:lnTo>
                        <a:lnTo>
                          <a:pt x="153" y="672"/>
                        </a:lnTo>
                        <a:lnTo>
                          <a:pt x="168" y="695"/>
                        </a:lnTo>
                        <a:lnTo>
                          <a:pt x="228" y="739"/>
                        </a:lnTo>
                        <a:lnTo>
                          <a:pt x="268" y="765"/>
                        </a:lnTo>
                        <a:lnTo>
                          <a:pt x="280" y="766"/>
                        </a:lnTo>
                        <a:lnTo>
                          <a:pt x="288" y="762"/>
                        </a:lnTo>
                        <a:lnTo>
                          <a:pt x="296" y="751"/>
                        </a:lnTo>
                        <a:lnTo>
                          <a:pt x="304" y="745"/>
                        </a:lnTo>
                        <a:lnTo>
                          <a:pt x="321" y="705"/>
                        </a:lnTo>
                        <a:lnTo>
                          <a:pt x="329" y="693"/>
                        </a:lnTo>
                        <a:lnTo>
                          <a:pt x="336" y="689"/>
                        </a:lnTo>
                        <a:lnTo>
                          <a:pt x="350" y="693"/>
                        </a:lnTo>
                        <a:lnTo>
                          <a:pt x="353" y="693"/>
                        </a:lnTo>
                        <a:lnTo>
                          <a:pt x="356" y="686"/>
                        </a:lnTo>
                        <a:lnTo>
                          <a:pt x="360" y="681"/>
                        </a:lnTo>
                        <a:lnTo>
                          <a:pt x="368" y="685"/>
                        </a:lnTo>
                        <a:lnTo>
                          <a:pt x="375" y="689"/>
                        </a:lnTo>
                        <a:lnTo>
                          <a:pt x="398" y="693"/>
                        </a:lnTo>
                        <a:lnTo>
                          <a:pt x="404" y="696"/>
                        </a:lnTo>
                        <a:lnTo>
                          <a:pt x="419" y="700"/>
                        </a:lnTo>
                        <a:lnTo>
                          <a:pt x="427" y="697"/>
                        </a:lnTo>
                        <a:lnTo>
                          <a:pt x="445" y="707"/>
                        </a:lnTo>
                        <a:lnTo>
                          <a:pt x="449" y="717"/>
                        </a:lnTo>
                        <a:lnTo>
                          <a:pt x="452" y="719"/>
                        </a:lnTo>
                        <a:lnTo>
                          <a:pt x="454" y="723"/>
                        </a:lnTo>
                        <a:lnTo>
                          <a:pt x="457" y="724"/>
                        </a:lnTo>
                        <a:lnTo>
                          <a:pt x="465" y="729"/>
                        </a:lnTo>
                        <a:lnTo>
                          <a:pt x="476" y="743"/>
                        </a:lnTo>
                        <a:lnTo>
                          <a:pt x="493" y="758"/>
                        </a:lnTo>
                        <a:lnTo>
                          <a:pt x="502" y="772"/>
                        </a:lnTo>
                        <a:lnTo>
                          <a:pt x="503" y="778"/>
                        </a:lnTo>
                        <a:lnTo>
                          <a:pt x="529" y="841"/>
                        </a:lnTo>
                        <a:lnTo>
                          <a:pt x="533" y="854"/>
                        </a:lnTo>
                        <a:lnTo>
                          <a:pt x="562" y="887"/>
                        </a:lnTo>
                        <a:lnTo>
                          <a:pt x="564" y="895"/>
                        </a:lnTo>
                        <a:lnTo>
                          <a:pt x="584" y="917"/>
                        </a:lnTo>
                        <a:lnTo>
                          <a:pt x="590" y="920"/>
                        </a:lnTo>
                        <a:lnTo>
                          <a:pt x="598" y="929"/>
                        </a:lnTo>
                        <a:lnTo>
                          <a:pt x="600" y="935"/>
                        </a:lnTo>
                        <a:lnTo>
                          <a:pt x="599" y="957"/>
                        </a:lnTo>
                        <a:lnTo>
                          <a:pt x="605" y="965"/>
                        </a:lnTo>
                        <a:lnTo>
                          <a:pt x="608" y="989"/>
                        </a:lnTo>
                        <a:lnTo>
                          <a:pt x="614" y="997"/>
                        </a:lnTo>
                        <a:lnTo>
                          <a:pt x="635" y="1037"/>
                        </a:lnTo>
                        <a:lnTo>
                          <a:pt x="636" y="1048"/>
                        </a:lnTo>
                        <a:lnTo>
                          <a:pt x="651" y="1049"/>
                        </a:lnTo>
                        <a:lnTo>
                          <a:pt x="667" y="1059"/>
                        </a:lnTo>
                        <a:lnTo>
                          <a:pt x="686" y="1065"/>
                        </a:lnTo>
                        <a:lnTo>
                          <a:pt x="715" y="1084"/>
                        </a:lnTo>
                        <a:lnTo>
                          <a:pt x="753" y="1087"/>
                        </a:lnTo>
                        <a:lnTo>
                          <a:pt x="761" y="1088"/>
                        </a:lnTo>
                        <a:lnTo>
                          <a:pt x="782" y="1102"/>
                        </a:lnTo>
                        <a:lnTo>
                          <a:pt x="792" y="1107"/>
                        </a:lnTo>
                        <a:lnTo>
                          <a:pt x="802" y="1095"/>
                        </a:lnTo>
                        <a:lnTo>
                          <a:pt x="811" y="1097"/>
                        </a:lnTo>
                        <a:lnTo>
                          <a:pt x="814" y="1094"/>
                        </a:lnTo>
                        <a:lnTo>
                          <a:pt x="814" y="1089"/>
                        </a:lnTo>
                        <a:lnTo>
                          <a:pt x="805" y="1085"/>
                        </a:lnTo>
                        <a:lnTo>
                          <a:pt x="807" y="1082"/>
                        </a:lnTo>
                        <a:lnTo>
                          <a:pt x="798" y="1072"/>
                        </a:lnTo>
                        <a:lnTo>
                          <a:pt x="785" y="1024"/>
                        </a:lnTo>
                        <a:lnTo>
                          <a:pt x="779" y="1005"/>
                        </a:lnTo>
                        <a:lnTo>
                          <a:pt x="788" y="976"/>
                        </a:lnTo>
                        <a:lnTo>
                          <a:pt x="787" y="966"/>
                        </a:lnTo>
                        <a:lnTo>
                          <a:pt x="784" y="965"/>
                        </a:lnTo>
                        <a:lnTo>
                          <a:pt x="782" y="964"/>
                        </a:lnTo>
                        <a:lnTo>
                          <a:pt x="780" y="962"/>
                        </a:lnTo>
                        <a:lnTo>
                          <a:pt x="780" y="960"/>
                        </a:lnTo>
                        <a:lnTo>
                          <a:pt x="782" y="958"/>
                        </a:lnTo>
                        <a:lnTo>
                          <a:pt x="795" y="950"/>
                        </a:lnTo>
                        <a:lnTo>
                          <a:pt x="803" y="924"/>
                        </a:lnTo>
                        <a:lnTo>
                          <a:pt x="796" y="921"/>
                        </a:lnTo>
                        <a:lnTo>
                          <a:pt x="794" y="909"/>
                        </a:lnTo>
                        <a:lnTo>
                          <a:pt x="800" y="901"/>
                        </a:lnTo>
                        <a:lnTo>
                          <a:pt x="809" y="907"/>
                        </a:lnTo>
                        <a:lnTo>
                          <a:pt x="824" y="897"/>
                        </a:lnTo>
                        <a:lnTo>
                          <a:pt x="828" y="883"/>
                        </a:lnTo>
                        <a:lnTo>
                          <a:pt x="820" y="877"/>
                        </a:lnTo>
                        <a:lnTo>
                          <a:pt x="824" y="871"/>
                        </a:lnTo>
                        <a:lnTo>
                          <a:pt x="827" y="873"/>
                        </a:lnTo>
                        <a:lnTo>
                          <a:pt x="831" y="873"/>
                        </a:lnTo>
                        <a:lnTo>
                          <a:pt x="834" y="869"/>
                        </a:lnTo>
                        <a:lnTo>
                          <a:pt x="839" y="872"/>
                        </a:lnTo>
                        <a:lnTo>
                          <a:pt x="844" y="872"/>
                        </a:lnTo>
                        <a:lnTo>
                          <a:pt x="848" y="870"/>
                        </a:lnTo>
                        <a:lnTo>
                          <a:pt x="848" y="867"/>
                        </a:lnTo>
                        <a:lnTo>
                          <a:pt x="848" y="856"/>
                        </a:lnTo>
                        <a:lnTo>
                          <a:pt x="850" y="853"/>
                        </a:lnTo>
                        <a:lnTo>
                          <a:pt x="854" y="852"/>
                        </a:lnTo>
                        <a:lnTo>
                          <a:pt x="856" y="853"/>
                        </a:lnTo>
                        <a:lnTo>
                          <a:pt x="860" y="854"/>
                        </a:lnTo>
                        <a:lnTo>
                          <a:pt x="882" y="849"/>
                        </a:lnTo>
                        <a:lnTo>
                          <a:pt x="885" y="848"/>
                        </a:lnTo>
                        <a:lnTo>
                          <a:pt x="885" y="844"/>
                        </a:lnTo>
                        <a:lnTo>
                          <a:pt x="884" y="841"/>
                        </a:lnTo>
                        <a:lnTo>
                          <a:pt x="872" y="835"/>
                        </a:lnTo>
                        <a:lnTo>
                          <a:pt x="872" y="830"/>
                        </a:lnTo>
                        <a:lnTo>
                          <a:pt x="893" y="825"/>
                        </a:lnTo>
                        <a:lnTo>
                          <a:pt x="896" y="821"/>
                        </a:lnTo>
                        <a:lnTo>
                          <a:pt x="901" y="819"/>
                        </a:lnTo>
                        <a:lnTo>
                          <a:pt x="903" y="821"/>
                        </a:lnTo>
                        <a:lnTo>
                          <a:pt x="901" y="823"/>
                        </a:lnTo>
                        <a:lnTo>
                          <a:pt x="904" y="829"/>
                        </a:lnTo>
                        <a:lnTo>
                          <a:pt x="907" y="829"/>
                        </a:lnTo>
                        <a:lnTo>
                          <a:pt x="911" y="825"/>
                        </a:lnTo>
                        <a:lnTo>
                          <a:pt x="942" y="816"/>
                        </a:lnTo>
                        <a:lnTo>
                          <a:pt x="994" y="782"/>
                        </a:lnTo>
                        <a:lnTo>
                          <a:pt x="997" y="769"/>
                        </a:lnTo>
                        <a:lnTo>
                          <a:pt x="1021" y="749"/>
                        </a:lnTo>
                        <a:lnTo>
                          <a:pt x="1021" y="745"/>
                        </a:lnTo>
                        <a:lnTo>
                          <a:pt x="1011" y="731"/>
                        </a:lnTo>
                        <a:lnTo>
                          <a:pt x="1013" y="720"/>
                        </a:lnTo>
                        <a:lnTo>
                          <a:pt x="1029" y="713"/>
                        </a:lnTo>
                        <a:lnTo>
                          <a:pt x="1033" y="713"/>
                        </a:lnTo>
                        <a:lnTo>
                          <a:pt x="1030" y="726"/>
                        </a:lnTo>
                        <a:lnTo>
                          <a:pt x="1032" y="730"/>
                        </a:lnTo>
                        <a:lnTo>
                          <a:pt x="1050" y="728"/>
                        </a:lnTo>
                        <a:lnTo>
                          <a:pt x="1053" y="733"/>
                        </a:lnTo>
                        <a:lnTo>
                          <a:pt x="1090" y="717"/>
                        </a:lnTo>
                        <a:lnTo>
                          <a:pt x="1112" y="714"/>
                        </a:lnTo>
                        <a:lnTo>
                          <a:pt x="1113" y="713"/>
                        </a:lnTo>
                        <a:lnTo>
                          <a:pt x="1112" y="711"/>
                        </a:lnTo>
                        <a:lnTo>
                          <a:pt x="1108" y="707"/>
                        </a:lnTo>
                        <a:lnTo>
                          <a:pt x="1106" y="701"/>
                        </a:lnTo>
                        <a:lnTo>
                          <a:pt x="1109" y="697"/>
                        </a:lnTo>
                        <a:lnTo>
                          <a:pt x="1111" y="691"/>
                        </a:lnTo>
                        <a:lnTo>
                          <a:pt x="1117" y="685"/>
                        </a:lnTo>
                        <a:lnTo>
                          <a:pt x="1125" y="662"/>
                        </a:lnTo>
                        <a:lnTo>
                          <a:pt x="1119" y="653"/>
                        </a:lnTo>
                        <a:lnTo>
                          <a:pt x="1119" y="645"/>
                        </a:lnTo>
                        <a:lnTo>
                          <a:pt x="1121" y="641"/>
                        </a:lnTo>
                        <a:lnTo>
                          <a:pt x="1120" y="634"/>
                        </a:lnTo>
                        <a:lnTo>
                          <a:pt x="1122" y="621"/>
                        </a:lnTo>
                        <a:lnTo>
                          <a:pt x="1129" y="617"/>
                        </a:lnTo>
                        <a:lnTo>
                          <a:pt x="1133" y="607"/>
                        </a:lnTo>
                        <a:lnTo>
                          <a:pt x="1136" y="589"/>
                        </a:lnTo>
                        <a:lnTo>
                          <a:pt x="1136" y="577"/>
                        </a:lnTo>
                        <a:lnTo>
                          <a:pt x="1133" y="561"/>
                        </a:lnTo>
                        <a:lnTo>
                          <a:pt x="1126" y="550"/>
                        </a:lnTo>
                        <a:lnTo>
                          <a:pt x="1123" y="547"/>
                        </a:lnTo>
                        <a:lnTo>
                          <a:pt x="1125" y="541"/>
                        </a:lnTo>
                        <a:lnTo>
                          <a:pt x="1121" y="537"/>
                        </a:lnTo>
                        <a:lnTo>
                          <a:pt x="1117" y="528"/>
                        </a:lnTo>
                        <a:lnTo>
                          <a:pt x="1111" y="523"/>
                        </a:lnTo>
                        <a:lnTo>
                          <a:pt x="1109" y="520"/>
                        </a:lnTo>
                        <a:lnTo>
                          <a:pt x="1113" y="509"/>
                        </a:lnTo>
                        <a:lnTo>
                          <a:pt x="1105" y="494"/>
                        </a:lnTo>
                        <a:lnTo>
                          <a:pt x="1093" y="483"/>
                        </a:lnTo>
                        <a:lnTo>
                          <a:pt x="1089" y="477"/>
                        </a:lnTo>
                        <a:lnTo>
                          <a:pt x="1087" y="374"/>
                        </a:lnTo>
                        <a:lnTo>
                          <a:pt x="1087" y="320"/>
                        </a:lnTo>
                        <a:lnTo>
                          <a:pt x="1074" y="317"/>
                        </a:lnTo>
                        <a:lnTo>
                          <a:pt x="1063" y="321"/>
                        </a:lnTo>
                        <a:lnTo>
                          <a:pt x="1059" y="321"/>
                        </a:lnTo>
                        <a:lnTo>
                          <a:pt x="1046" y="311"/>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sp>
              <p:nvSpPr>
                <p:cNvPr id="15" name="Freeform 20">
                  <a:extLst>
                    <a:ext uri="{FF2B5EF4-FFF2-40B4-BE49-F238E27FC236}">
                      <a16:creationId xmlns:a16="http://schemas.microsoft.com/office/drawing/2014/main" id="{FE6BAAEB-7752-411F-9052-09705B8AAEC2}"/>
                    </a:ext>
                  </a:extLst>
                </p:cNvPr>
                <p:cNvSpPr>
                  <a:spLocks/>
                </p:cNvSpPr>
                <p:nvPr/>
              </p:nvSpPr>
              <p:spPr bwMode="auto">
                <a:xfrm>
                  <a:off x="1872" y="1188"/>
                  <a:ext cx="598" cy="500"/>
                </a:xfrm>
                <a:custGeom>
                  <a:avLst/>
                  <a:gdLst>
                    <a:gd name="T0" fmla="*/ 5 w 652"/>
                    <a:gd name="T1" fmla="*/ 405 h 544"/>
                    <a:gd name="T2" fmla="*/ 4 w 652"/>
                    <a:gd name="T3" fmla="*/ 373 h 544"/>
                    <a:gd name="T4" fmla="*/ 11 w 652"/>
                    <a:gd name="T5" fmla="*/ 349 h 544"/>
                    <a:gd name="T6" fmla="*/ 12 w 652"/>
                    <a:gd name="T7" fmla="*/ 309 h 544"/>
                    <a:gd name="T8" fmla="*/ 23 w 652"/>
                    <a:gd name="T9" fmla="*/ 301 h 544"/>
                    <a:gd name="T10" fmla="*/ 31 w 652"/>
                    <a:gd name="T11" fmla="*/ 286 h 544"/>
                    <a:gd name="T12" fmla="*/ 36 w 652"/>
                    <a:gd name="T13" fmla="*/ 271 h 544"/>
                    <a:gd name="T14" fmla="*/ 64 w 652"/>
                    <a:gd name="T15" fmla="*/ 226 h 544"/>
                    <a:gd name="T16" fmla="*/ 100 w 652"/>
                    <a:gd name="T17" fmla="*/ 138 h 544"/>
                    <a:gd name="T18" fmla="*/ 125 w 652"/>
                    <a:gd name="T19" fmla="*/ 79 h 544"/>
                    <a:gd name="T20" fmla="*/ 145 w 652"/>
                    <a:gd name="T21" fmla="*/ 20 h 544"/>
                    <a:gd name="T22" fmla="*/ 148 w 652"/>
                    <a:gd name="T23" fmla="*/ 2 h 544"/>
                    <a:gd name="T24" fmla="*/ 163 w 652"/>
                    <a:gd name="T25" fmla="*/ 2 h 544"/>
                    <a:gd name="T26" fmla="*/ 180 w 652"/>
                    <a:gd name="T27" fmla="*/ 6 h 544"/>
                    <a:gd name="T28" fmla="*/ 188 w 652"/>
                    <a:gd name="T29" fmla="*/ 16 h 544"/>
                    <a:gd name="T30" fmla="*/ 215 w 652"/>
                    <a:gd name="T31" fmla="*/ 29 h 544"/>
                    <a:gd name="T32" fmla="*/ 216 w 652"/>
                    <a:gd name="T33" fmla="*/ 49 h 544"/>
                    <a:gd name="T34" fmla="*/ 218 w 652"/>
                    <a:gd name="T35" fmla="*/ 83 h 544"/>
                    <a:gd name="T36" fmla="*/ 264 w 652"/>
                    <a:gd name="T37" fmla="*/ 96 h 544"/>
                    <a:gd name="T38" fmla="*/ 293 w 652"/>
                    <a:gd name="T39" fmla="*/ 96 h 544"/>
                    <a:gd name="T40" fmla="*/ 327 w 652"/>
                    <a:gd name="T41" fmla="*/ 113 h 544"/>
                    <a:gd name="T42" fmla="*/ 370 w 652"/>
                    <a:gd name="T43" fmla="*/ 113 h 544"/>
                    <a:gd name="T44" fmla="*/ 392 w 652"/>
                    <a:gd name="T45" fmla="*/ 118 h 544"/>
                    <a:gd name="T46" fmla="*/ 411 w 652"/>
                    <a:gd name="T47" fmla="*/ 112 h 544"/>
                    <a:gd name="T48" fmla="*/ 430 w 652"/>
                    <a:gd name="T49" fmla="*/ 114 h 544"/>
                    <a:gd name="T50" fmla="*/ 445 w 652"/>
                    <a:gd name="T51" fmla="*/ 112 h 544"/>
                    <a:gd name="T52" fmla="*/ 460 w 652"/>
                    <a:gd name="T53" fmla="*/ 115 h 544"/>
                    <a:gd name="T54" fmla="*/ 475 w 652"/>
                    <a:gd name="T55" fmla="*/ 117 h 544"/>
                    <a:gd name="T56" fmla="*/ 628 w 652"/>
                    <a:gd name="T57" fmla="*/ 146 h 544"/>
                    <a:gd name="T58" fmla="*/ 636 w 652"/>
                    <a:gd name="T59" fmla="*/ 165 h 544"/>
                    <a:gd name="T60" fmla="*/ 650 w 652"/>
                    <a:gd name="T61" fmla="*/ 173 h 544"/>
                    <a:gd name="T62" fmla="*/ 617 w 652"/>
                    <a:gd name="T63" fmla="*/ 241 h 544"/>
                    <a:gd name="T64" fmla="*/ 611 w 652"/>
                    <a:gd name="T65" fmla="*/ 254 h 544"/>
                    <a:gd name="T66" fmla="*/ 592 w 652"/>
                    <a:gd name="T67" fmla="*/ 268 h 544"/>
                    <a:gd name="T68" fmla="*/ 570 w 652"/>
                    <a:gd name="T69" fmla="*/ 308 h 544"/>
                    <a:gd name="T70" fmla="*/ 584 w 652"/>
                    <a:gd name="T71" fmla="*/ 320 h 544"/>
                    <a:gd name="T72" fmla="*/ 586 w 652"/>
                    <a:gd name="T73" fmla="*/ 333 h 544"/>
                    <a:gd name="T74" fmla="*/ 583 w 652"/>
                    <a:gd name="T75" fmla="*/ 338 h 544"/>
                    <a:gd name="T76" fmla="*/ 572 w 652"/>
                    <a:gd name="T77" fmla="*/ 363 h 544"/>
                    <a:gd name="T78" fmla="*/ 313 w 652"/>
                    <a:gd name="T79" fmla="*/ 493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544">
                      <a:moveTo>
                        <a:pt x="9" y="409"/>
                      </a:moveTo>
                      <a:lnTo>
                        <a:pt x="5" y="405"/>
                      </a:lnTo>
                      <a:lnTo>
                        <a:pt x="0" y="384"/>
                      </a:lnTo>
                      <a:lnTo>
                        <a:pt x="4" y="373"/>
                      </a:lnTo>
                      <a:lnTo>
                        <a:pt x="4" y="365"/>
                      </a:lnTo>
                      <a:lnTo>
                        <a:pt x="11" y="349"/>
                      </a:lnTo>
                      <a:lnTo>
                        <a:pt x="8" y="317"/>
                      </a:lnTo>
                      <a:lnTo>
                        <a:pt x="12" y="309"/>
                      </a:lnTo>
                      <a:lnTo>
                        <a:pt x="19" y="306"/>
                      </a:lnTo>
                      <a:lnTo>
                        <a:pt x="23" y="301"/>
                      </a:lnTo>
                      <a:lnTo>
                        <a:pt x="27" y="290"/>
                      </a:lnTo>
                      <a:lnTo>
                        <a:pt x="31" y="286"/>
                      </a:lnTo>
                      <a:lnTo>
                        <a:pt x="32" y="272"/>
                      </a:lnTo>
                      <a:lnTo>
                        <a:pt x="36" y="271"/>
                      </a:lnTo>
                      <a:lnTo>
                        <a:pt x="55" y="248"/>
                      </a:lnTo>
                      <a:lnTo>
                        <a:pt x="64" y="226"/>
                      </a:lnTo>
                      <a:lnTo>
                        <a:pt x="81" y="195"/>
                      </a:lnTo>
                      <a:lnTo>
                        <a:pt x="100" y="138"/>
                      </a:lnTo>
                      <a:lnTo>
                        <a:pt x="113" y="114"/>
                      </a:lnTo>
                      <a:lnTo>
                        <a:pt x="125" y="79"/>
                      </a:lnTo>
                      <a:lnTo>
                        <a:pt x="140" y="35"/>
                      </a:lnTo>
                      <a:lnTo>
                        <a:pt x="145" y="20"/>
                      </a:lnTo>
                      <a:lnTo>
                        <a:pt x="148" y="6"/>
                      </a:lnTo>
                      <a:lnTo>
                        <a:pt x="148" y="2"/>
                      </a:lnTo>
                      <a:lnTo>
                        <a:pt x="155" y="0"/>
                      </a:lnTo>
                      <a:lnTo>
                        <a:pt x="163" y="2"/>
                      </a:lnTo>
                      <a:lnTo>
                        <a:pt x="168" y="1"/>
                      </a:lnTo>
                      <a:lnTo>
                        <a:pt x="180" y="6"/>
                      </a:lnTo>
                      <a:lnTo>
                        <a:pt x="187" y="13"/>
                      </a:lnTo>
                      <a:lnTo>
                        <a:pt x="188" y="16"/>
                      </a:lnTo>
                      <a:lnTo>
                        <a:pt x="200" y="17"/>
                      </a:lnTo>
                      <a:lnTo>
                        <a:pt x="215" y="29"/>
                      </a:lnTo>
                      <a:lnTo>
                        <a:pt x="217" y="45"/>
                      </a:lnTo>
                      <a:lnTo>
                        <a:pt x="216" y="49"/>
                      </a:lnTo>
                      <a:lnTo>
                        <a:pt x="214" y="75"/>
                      </a:lnTo>
                      <a:lnTo>
                        <a:pt x="218" y="83"/>
                      </a:lnTo>
                      <a:lnTo>
                        <a:pt x="239" y="94"/>
                      </a:lnTo>
                      <a:lnTo>
                        <a:pt x="264" y="96"/>
                      </a:lnTo>
                      <a:lnTo>
                        <a:pt x="280" y="94"/>
                      </a:lnTo>
                      <a:lnTo>
                        <a:pt x="293" y="96"/>
                      </a:lnTo>
                      <a:lnTo>
                        <a:pt x="320" y="104"/>
                      </a:lnTo>
                      <a:lnTo>
                        <a:pt x="327" y="113"/>
                      </a:lnTo>
                      <a:lnTo>
                        <a:pt x="360" y="109"/>
                      </a:lnTo>
                      <a:lnTo>
                        <a:pt x="370" y="113"/>
                      </a:lnTo>
                      <a:lnTo>
                        <a:pt x="375" y="116"/>
                      </a:lnTo>
                      <a:lnTo>
                        <a:pt x="392" y="118"/>
                      </a:lnTo>
                      <a:lnTo>
                        <a:pt x="400" y="117"/>
                      </a:lnTo>
                      <a:lnTo>
                        <a:pt x="411" y="112"/>
                      </a:lnTo>
                      <a:lnTo>
                        <a:pt x="420" y="112"/>
                      </a:lnTo>
                      <a:lnTo>
                        <a:pt x="430" y="114"/>
                      </a:lnTo>
                      <a:lnTo>
                        <a:pt x="438" y="112"/>
                      </a:lnTo>
                      <a:lnTo>
                        <a:pt x="445" y="112"/>
                      </a:lnTo>
                      <a:lnTo>
                        <a:pt x="451" y="114"/>
                      </a:lnTo>
                      <a:lnTo>
                        <a:pt x="460" y="115"/>
                      </a:lnTo>
                      <a:lnTo>
                        <a:pt x="468" y="117"/>
                      </a:lnTo>
                      <a:lnTo>
                        <a:pt x="475" y="117"/>
                      </a:lnTo>
                      <a:lnTo>
                        <a:pt x="485" y="113"/>
                      </a:lnTo>
                      <a:lnTo>
                        <a:pt x="628" y="146"/>
                      </a:lnTo>
                      <a:lnTo>
                        <a:pt x="629" y="155"/>
                      </a:lnTo>
                      <a:lnTo>
                        <a:pt x="636" y="165"/>
                      </a:lnTo>
                      <a:lnTo>
                        <a:pt x="643" y="166"/>
                      </a:lnTo>
                      <a:lnTo>
                        <a:pt x="650" y="173"/>
                      </a:lnTo>
                      <a:lnTo>
                        <a:pt x="652" y="187"/>
                      </a:lnTo>
                      <a:lnTo>
                        <a:pt x="617" y="241"/>
                      </a:lnTo>
                      <a:lnTo>
                        <a:pt x="611" y="247"/>
                      </a:lnTo>
                      <a:lnTo>
                        <a:pt x="611" y="254"/>
                      </a:lnTo>
                      <a:lnTo>
                        <a:pt x="603" y="262"/>
                      </a:lnTo>
                      <a:lnTo>
                        <a:pt x="592" y="268"/>
                      </a:lnTo>
                      <a:lnTo>
                        <a:pt x="573" y="296"/>
                      </a:lnTo>
                      <a:lnTo>
                        <a:pt x="570" y="308"/>
                      </a:lnTo>
                      <a:lnTo>
                        <a:pt x="572" y="314"/>
                      </a:lnTo>
                      <a:lnTo>
                        <a:pt x="584" y="320"/>
                      </a:lnTo>
                      <a:lnTo>
                        <a:pt x="589" y="328"/>
                      </a:lnTo>
                      <a:lnTo>
                        <a:pt x="586" y="333"/>
                      </a:lnTo>
                      <a:lnTo>
                        <a:pt x="585" y="337"/>
                      </a:lnTo>
                      <a:lnTo>
                        <a:pt x="583" y="338"/>
                      </a:lnTo>
                      <a:lnTo>
                        <a:pt x="582" y="350"/>
                      </a:lnTo>
                      <a:lnTo>
                        <a:pt x="572" y="363"/>
                      </a:lnTo>
                      <a:lnTo>
                        <a:pt x="532" y="544"/>
                      </a:lnTo>
                      <a:lnTo>
                        <a:pt x="313" y="493"/>
                      </a:lnTo>
                      <a:lnTo>
                        <a:pt x="9" y="409"/>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6" name="Freeform 21">
                  <a:extLst>
                    <a:ext uri="{FF2B5EF4-FFF2-40B4-BE49-F238E27FC236}">
                      <a16:creationId xmlns:a16="http://schemas.microsoft.com/office/drawing/2014/main" id="{46D661A1-0FD0-4998-9B19-0B25D35C49A0}"/>
                    </a:ext>
                  </a:extLst>
                </p:cNvPr>
                <p:cNvSpPr>
                  <a:spLocks/>
                </p:cNvSpPr>
                <p:nvPr/>
              </p:nvSpPr>
              <p:spPr bwMode="auto">
                <a:xfrm>
                  <a:off x="2006" y="960"/>
                  <a:ext cx="496" cy="362"/>
                </a:xfrm>
                <a:custGeom>
                  <a:avLst/>
                  <a:gdLst>
                    <a:gd name="T0" fmla="*/ 483 w 540"/>
                    <a:gd name="T1" fmla="*/ 378 h 395"/>
                    <a:gd name="T2" fmla="*/ 481 w 540"/>
                    <a:gd name="T3" fmla="*/ 395 h 395"/>
                    <a:gd name="T4" fmla="*/ 328 w 540"/>
                    <a:gd name="T5" fmla="*/ 366 h 395"/>
                    <a:gd name="T6" fmla="*/ 313 w 540"/>
                    <a:gd name="T7" fmla="*/ 364 h 395"/>
                    <a:gd name="T8" fmla="*/ 298 w 540"/>
                    <a:gd name="T9" fmla="*/ 361 h 395"/>
                    <a:gd name="T10" fmla="*/ 283 w 540"/>
                    <a:gd name="T11" fmla="*/ 363 h 395"/>
                    <a:gd name="T12" fmla="*/ 264 w 540"/>
                    <a:gd name="T13" fmla="*/ 361 h 395"/>
                    <a:gd name="T14" fmla="*/ 245 w 540"/>
                    <a:gd name="T15" fmla="*/ 367 h 395"/>
                    <a:gd name="T16" fmla="*/ 223 w 540"/>
                    <a:gd name="T17" fmla="*/ 362 h 395"/>
                    <a:gd name="T18" fmla="*/ 180 w 540"/>
                    <a:gd name="T19" fmla="*/ 362 h 395"/>
                    <a:gd name="T20" fmla="*/ 146 w 540"/>
                    <a:gd name="T21" fmla="*/ 345 h 395"/>
                    <a:gd name="T22" fmla="*/ 117 w 540"/>
                    <a:gd name="T23" fmla="*/ 345 h 395"/>
                    <a:gd name="T24" fmla="*/ 71 w 540"/>
                    <a:gd name="T25" fmla="*/ 332 h 395"/>
                    <a:gd name="T26" fmla="*/ 69 w 540"/>
                    <a:gd name="T27" fmla="*/ 298 h 395"/>
                    <a:gd name="T28" fmla="*/ 68 w 540"/>
                    <a:gd name="T29" fmla="*/ 278 h 395"/>
                    <a:gd name="T30" fmla="*/ 41 w 540"/>
                    <a:gd name="T31" fmla="*/ 265 h 395"/>
                    <a:gd name="T32" fmla="*/ 33 w 540"/>
                    <a:gd name="T33" fmla="*/ 255 h 395"/>
                    <a:gd name="T34" fmla="*/ 19 w 540"/>
                    <a:gd name="T35" fmla="*/ 248 h 395"/>
                    <a:gd name="T36" fmla="*/ 2 w 540"/>
                    <a:gd name="T37" fmla="*/ 239 h 395"/>
                    <a:gd name="T38" fmla="*/ 0 w 540"/>
                    <a:gd name="T39" fmla="*/ 234 h 395"/>
                    <a:gd name="T40" fmla="*/ 5 w 540"/>
                    <a:gd name="T41" fmla="*/ 217 h 395"/>
                    <a:gd name="T42" fmla="*/ 5 w 540"/>
                    <a:gd name="T43" fmla="*/ 209 h 395"/>
                    <a:gd name="T44" fmla="*/ 9 w 540"/>
                    <a:gd name="T45" fmla="*/ 209 h 395"/>
                    <a:gd name="T46" fmla="*/ 9 w 540"/>
                    <a:gd name="T47" fmla="*/ 220 h 395"/>
                    <a:gd name="T48" fmla="*/ 9 w 540"/>
                    <a:gd name="T49" fmla="*/ 226 h 395"/>
                    <a:gd name="T50" fmla="*/ 18 w 540"/>
                    <a:gd name="T51" fmla="*/ 214 h 395"/>
                    <a:gd name="T52" fmla="*/ 22 w 540"/>
                    <a:gd name="T53" fmla="*/ 204 h 395"/>
                    <a:gd name="T54" fmla="*/ 13 w 540"/>
                    <a:gd name="T55" fmla="*/ 196 h 395"/>
                    <a:gd name="T56" fmla="*/ 15 w 540"/>
                    <a:gd name="T57" fmla="*/ 179 h 395"/>
                    <a:gd name="T58" fmla="*/ 22 w 540"/>
                    <a:gd name="T59" fmla="*/ 178 h 395"/>
                    <a:gd name="T60" fmla="*/ 25 w 540"/>
                    <a:gd name="T61" fmla="*/ 170 h 395"/>
                    <a:gd name="T62" fmla="*/ 23 w 540"/>
                    <a:gd name="T63" fmla="*/ 166 h 395"/>
                    <a:gd name="T64" fmla="*/ 16 w 540"/>
                    <a:gd name="T65" fmla="*/ 159 h 395"/>
                    <a:gd name="T66" fmla="*/ 18 w 540"/>
                    <a:gd name="T67" fmla="*/ 140 h 395"/>
                    <a:gd name="T68" fmla="*/ 16 w 540"/>
                    <a:gd name="T69" fmla="*/ 122 h 395"/>
                    <a:gd name="T70" fmla="*/ 20 w 540"/>
                    <a:gd name="T71" fmla="*/ 92 h 395"/>
                    <a:gd name="T72" fmla="*/ 12 w 540"/>
                    <a:gd name="T73" fmla="*/ 45 h 395"/>
                    <a:gd name="T74" fmla="*/ 17 w 540"/>
                    <a:gd name="T75" fmla="*/ 20 h 395"/>
                    <a:gd name="T76" fmla="*/ 94 w 540"/>
                    <a:gd name="T77" fmla="*/ 70 h 395"/>
                    <a:gd name="T78" fmla="*/ 127 w 540"/>
                    <a:gd name="T79" fmla="*/ 83 h 395"/>
                    <a:gd name="T80" fmla="*/ 141 w 540"/>
                    <a:gd name="T81" fmla="*/ 86 h 395"/>
                    <a:gd name="T82" fmla="*/ 147 w 540"/>
                    <a:gd name="T83" fmla="*/ 117 h 395"/>
                    <a:gd name="T84" fmla="*/ 137 w 540"/>
                    <a:gd name="T85" fmla="*/ 128 h 395"/>
                    <a:gd name="T86" fmla="*/ 134 w 540"/>
                    <a:gd name="T87" fmla="*/ 148 h 395"/>
                    <a:gd name="T88" fmla="*/ 134 w 540"/>
                    <a:gd name="T89" fmla="*/ 158 h 395"/>
                    <a:gd name="T90" fmla="*/ 132 w 540"/>
                    <a:gd name="T91" fmla="*/ 166 h 395"/>
                    <a:gd name="T92" fmla="*/ 146 w 540"/>
                    <a:gd name="T93" fmla="*/ 165 h 395"/>
                    <a:gd name="T94" fmla="*/ 157 w 540"/>
                    <a:gd name="T95" fmla="*/ 138 h 395"/>
                    <a:gd name="T96" fmla="*/ 174 w 540"/>
                    <a:gd name="T97" fmla="*/ 114 h 395"/>
                    <a:gd name="T98" fmla="*/ 169 w 540"/>
                    <a:gd name="T99" fmla="*/ 88 h 395"/>
                    <a:gd name="T100" fmla="*/ 158 w 540"/>
                    <a:gd name="T101" fmla="*/ 55 h 395"/>
                    <a:gd name="T102" fmla="*/ 167 w 540"/>
                    <a:gd name="T103" fmla="*/ 55 h 395"/>
                    <a:gd name="T104" fmla="*/ 173 w 540"/>
                    <a:gd name="T105" fmla="*/ 28 h 395"/>
                    <a:gd name="T106" fmla="*/ 163 w 540"/>
                    <a:gd name="T107" fmla="*/ 18 h 395"/>
                    <a:gd name="T108" fmla="*/ 269 w 540"/>
                    <a:gd name="T109" fmla="*/ 30 h 395"/>
                    <a:gd name="T110" fmla="*/ 540 w 540"/>
                    <a:gd name="T111" fmla="*/ 98 h 395"/>
                    <a:gd name="T112" fmla="*/ 480 w 540"/>
                    <a:gd name="T113" fmla="*/ 355 h 395"/>
                    <a:gd name="T114" fmla="*/ 485 w 540"/>
                    <a:gd name="T115" fmla="*/ 37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0" h="395">
                      <a:moveTo>
                        <a:pt x="485" y="372"/>
                      </a:moveTo>
                      <a:lnTo>
                        <a:pt x="483" y="378"/>
                      </a:lnTo>
                      <a:lnTo>
                        <a:pt x="480" y="382"/>
                      </a:lnTo>
                      <a:lnTo>
                        <a:pt x="481" y="395"/>
                      </a:lnTo>
                      <a:lnTo>
                        <a:pt x="338" y="362"/>
                      </a:lnTo>
                      <a:lnTo>
                        <a:pt x="328" y="366"/>
                      </a:lnTo>
                      <a:lnTo>
                        <a:pt x="321" y="366"/>
                      </a:lnTo>
                      <a:lnTo>
                        <a:pt x="313" y="364"/>
                      </a:lnTo>
                      <a:lnTo>
                        <a:pt x="304" y="363"/>
                      </a:lnTo>
                      <a:lnTo>
                        <a:pt x="298" y="361"/>
                      </a:lnTo>
                      <a:lnTo>
                        <a:pt x="291" y="361"/>
                      </a:lnTo>
                      <a:lnTo>
                        <a:pt x="283" y="363"/>
                      </a:lnTo>
                      <a:lnTo>
                        <a:pt x="273" y="361"/>
                      </a:lnTo>
                      <a:lnTo>
                        <a:pt x="264" y="361"/>
                      </a:lnTo>
                      <a:lnTo>
                        <a:pt x="253" y="366"/>
                      </a:lnTo>
                      <a:lnTo>
                        <a:pt x="245" y="367"/>
                      </a:lnTo>
                      <a:lnTo>
                        <a:pt x="228" y="365"/>
                      </a:lnTo>
                      <a:lnTo>
                        <a:pt x="223" y="362"/>
                      </a:lnTo>
                      <a:lnTo>
                        <a:pt x="213" y="358"/>
                      </a:lnTo>
                      <a:lnTo>
                        <a:pt x="180" y="362"/>
                      </a:lnTo>
                      <a:lnTo>
                        <a:pt x="173" y="353"/>
                      </a:lnTo>
                      <a:lnTo>
                        <a:pt x="146" y="345"/>
                      </a:lnTo>
                      <a:lnTo>
                        <a:pt x="133" y="343"/>
                      </a:lnTo>
                      <a:lnTo>
                        <a:pt x="117" y="345"/>
                      </a:lnTo>
                      <a:lnTo>
                        <a:pt x="92" y="343"/>
                      </a:lnTo>
                      <a:lnTo>
                        <a:pt x="71" y="332"/>
                      </a:lnTo>
                      <a:lnTo>
                        <a:pt x="67" y="324"/>
                      </a:lnTo>
                      <a:lnTo>
                        <a:pt x="69" y="298"/>
                      </a:lnTo>
                      <a:lnTo>
                        <a:pt x="70" y="294"/>
                      </a:lnTo>
                      <a:lnTo>
                        <a:pt x="68" y="278"/>
                      </a:lnTo>
                      <a:lnTo>
                        <a:pt x="53" y="266"/>
                      </a:lnTo>
                      <a:lnTo>
                        <a:pt x="41" y="265"/>
                      </a:lnTo>
                      <a:lnTo>
                        <a:pt x="40" y="262"/>
                      </a:lnTo>
                      <a:lnTo>
                        <a:pt x="33" y="255"/>
                      </a:lnTo>
                      <a:lnTo>
                        <a:pt x="21" y="250"/>
                      </a:lnTo>
                      <a:lnTo>
                        <a:pt x="19" y="248"/>
                      </a:lnTo>
                      <a:lnTo>
                        <a:pt x="6" y="240"/>
                      </a:lnTo>
                      <a:lnTo>
                        <a:pt x="2" y="239"/>
                      </a:lnTo>
                      <a:lnTo>
                        <a:pt x="0" y="238"/>
                      </a:lnTo>
                      <a:lnTo>
                        <a:pt x="0" y="234"/>
                      </a:lnTo>
                      <a:lnTo>
                        <a:pt x="3" y="222"/>
                      </a:lnTo>
                      <a:lnTo>
                        <a:pt x="5" y="217"/>
                      </a:lnTo>
                      <a:lnTo>
                        <a:pt x="5" y="212"/>
                      </a:lnTo>
                      <a:lnTo>
                        <a:pt x="5" y="209"/>
                      </a:lnTo>
                      <a:lnTo>
                        <a:pt x="8" y="208"/>
                      </a:lnTo>
                      <a:lnTo>
                        <a:pt x="9" y="209"/>
                      </a:lnTo>
                      <a:lnTo>
                        <a:pt x="10" y="216"/>
                      </a:lnTo>
                      <a:lnTo>
                        <a:pt x="9" y="220"/>
                      </a:lnTo>
                      <a:lnTo>
                        <a:pt x="9" y="222"/>
                      </a:lnTo>
                      <a:lnTo>
                        <a:pt x="9" y="226"/>
                      </a:lnTo>
                      <a:lnTo>
                        <a:pt x="19" y="217"/>
                      </a:lnTo>
                      <a:lnTo>
                        <a:pt x="18" y="214"/>
                      </a:lnTo>
                      <a:lnTo>
                        <a:pt x="18" y="209"/>
                      </a:lnTo>
                      <a:lnTo>
                        <a:pt x="22" y="204"/>
                      </a:lnTo>
                      <a:lnTo>
                        <a:pt x="19" y="198"/>
                      </a:lnTo>
                      <a:lnTo>
                        <a:pt x="13" y="196"/>
                      </a:lnTo>
                      <a:lnTo>
                        <a:pt x="13" y="181"/>
                      </a:lnTo>
                      <a:lnTo>
                        <a:pt x="15" y="179"/>
                      </a:lnTo>
                      <a:lnTo>
                        <a:pt x="21" y="181"/>
                      </a:lnTo>
                      <a:lnTo>
                        <a:pt x="22" y="178"/>
                      </a:lnTo>
                      <a:lnTo>
                        <a:pt x="33" y="176"/>
                      </a:lnTo>
                      <a:lnTo>
                        <a:pt x="25" y="170"/>
                      </a:lnTo>
                      <a:lnTo>
                        <a:pt x="25" y="168"/>
                      </a:lnTo>
                      <a:lnTo>
                        <a:pt x="23" y="166"/>
                      </a:lnTo>
                      <a:lnTo>
                        <a:pt x="16" y="170"/>
                      </a:lnTo>
                      <a:lnTo>
                        <a:pt x="16" y="159"/>
                      </a:lnTo>
                      <a:lnTo>
                        <a:pt x="16" y="153"/>
                      </a:lnTo>
                      <a:lnTo>
                        <a:pt x="18" y="140"/>
                      </a:lnTo>
                      <a:lnTo>
                        <a:pt x="17" y="130"/>
                      </a:lnTo>
                      <a:lnTo>
                        <a:pt x="16" y="122"/>
                      </a:lnTo>
                      <a:lnTo>
                        <a:pt x="18" y="101"/>
                      </a:lnTo>
                      <a:lnTo>
                        <a:pt x="20" y="92"/>
                      </a:lnTo>
                      <a:lnTo>
                        <a:pt x="11" y="64"/>
                      </a:lnTo>
                      <a:lnTo>
                        <a:pt x="12" y="45"/>
                      </a:lnTo>
                      <a:lnTo>
                        <a:pt x="15" y="34"/>
                      </a:lnTo>
                      <a:lnTo>
                        <a:pt x="17" y="20"/>
                      </a:lnTo>
                      <a:lnTo>
                        <a:pt x="68" y="55"/>
                      </a:lnTo>
                      <a:lnTo>
                        <a:pt x="94" y="70"/>
                      </a:lnTo>
                      <a:lnTo>
                        <a:pt x="115" y="76"/>
                      </a:lnTo>
                      <a:lnTo>
                        <a:pt x="127" y="83"/>
                      </a:lnTo>
                      <a:lnTo>
                        <a:pt x="137" y="83"/>
                      </a:lnTo>
                      <a:lnTo>
                        <a:pt x="141" y="86"/>
                      </a:lnTo>
                      <a:lnTo>
                        <a:pt x="145" y="92"/>
                      </a:lnTo>
                      <a:lnTo>
                        <a:pt x="147" y="117"/>
                      </a:lnTo>
                      <a:lnTo>
                        <a:pt x="145" y="122"/>
                      </a:lnTo>
                      <a:lnTo>
                        <a:pt x="137" y="128"/>
                      </a:lnTo>
                      <a:lnTo>
                        <a:pt x="134" y="139"/>
                      </a:lnTo>
                      <a:lnTo>
                        <a:pt x="134" y="148"/>
                      </a:lnTo>
                      <a:lnTo>
                        <a:pt x="135" y="153"/>
                      </a:lnTo>
                      <a:lnTo>
                        <a:pt x="134" y="158"/>
                      </a:lnTo>
                      <a:lnTo>
                        <a:pt x="132" y="162"/>
                      </a:lnTo>
                      <a:lnTo>
                        <a:pt x="132" y="166"/>
                      </a:lnTo>
                      <a:lnTo>
                        <a:pt x="137" y="170"/>
                      </a:lnTo>
                      <a:lnTo>
                        <a:pt x="146" y="165"/>
                      </a:lnTo>
                      <a:lnTo>
                        <a:pt x="153" y="142"/>
                      </a:lnTo>
                      <a:lnTo>
                        <a:pt x="157" y="138"/>
                      </a:lnTo>
                      <a:lnTo>
                        <a:pt x="161" y="127"/>
                      </a:lnTo>
                      <a:lnTo>
                        <a:pt x="174" y="114"/>
                      </a:lnTo>
                      <a:lnTo>
                        <a:pt x="175" y="108"/>
                      </a:lnTo>
                      <a:lnTo>
                        <a:pt x="169" y="88"/>
                      </a:lnTo>
                      <a:lnTo>
                        <a:pt x="159" y="60"/>
                      </a:lnTo>
                      <a:lnTo>
                        <a:pt x="158" y="55"/>
                      </a:lnTo>
                      <a:lnTo>
                        <a:pt x="161" y="54"/>
                      </a:lnTo>
                      <a:lnTo>
                        <a:pt x="167" y="55"/>
                      </a:lnTo>
                      <a:lnTo>
                        <a:pt x="173" y="42"/>
                      </a:lnTo>
                      <a:lnTo>
                        <a:pt x="173" y="28"/>
                      </a:lnTo>
                      <a:lnTo>
                        <a:pt x="164" y="28"/>
                      </a:lnTo>
                      <a:lnTo>
                        <a:pt x="163" y="18"/>
                      </a:lnTo>
                      <a:lnTo>
                        <a:pt x="162" y="0"/>
                      </a:lnTo>
                      <a:lnTo>
                        <a:pt x="269" y="30"/>
                      </a:lnTo>
                      <a:lnTo>
                        <a:pt x="371" y="57"/>
                      </a:lnTo>
                      <a:lnTo>
                        <a:pt x="540" y="98"/>
                      </a:lnTo>
                      <a:lnTo>
                        <a:pt x="483" y="351"/>
                      </a:lnTo>
                      <a:lnTo>
                        <a:pt x="480" y="355"/>
                      </a:lnTo>
                      <a:lnTo>
                        <a:pt x="480" y="364"/>
                      </a:lnTo>
                      <a:lnTo>
                        <a:pt x="485" y="372"/>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7" name="Freeform 22">
                  <a:extLst>
                    <a:ext uri="{FF2B5EF4-FFF2-40B4-BE49-F238E27FC236}">
                      <a16:creationId xmlns:a16="http://schemas.microsoft.com/office/drawing/2014/main" id="{607D9F45-8707-4E8D-A6F6-4BB80B4C207D}"/>
                    </a:ext>
                  </a:extLst>
                </p:cNvPr>
                <p:cNvSpPr>
                  <a:spLocks/>
                </p:cNvSpPr>
                <p:nvPr/>
              </p:nvSpPr>
              <p:spPr bwMode="auto">
                <a:xfrm>
                  <a:off x="2360" y="1050"/>
                  <a:ext cx="444" cy="716"/>
                </a:xfrm>
                <a:custGeom>
                  <a:avLst/>
                  <a:gdLst>
                    <a:gd name="T0" fmla="*/ 220 w 485"/>
                    <a:gd name="T1" fmla="*/ 13 h 781"/>
                    <a:gd name="T2" fmla="*/ 214 w 485"/>
                    <a:gd name="T3" fmla="*/ 137 h 781"/>
                    <a:gd name="T4" fmla="*/ 214 w 485"/>
                    <a:gd name="T5" fmla="*/ 164 h 781"/>
                    <a:gd name="T6" fmla="*/ 215 w 485"/>
                    <a:gd name="T7" fmla="*/ 175 h 781"/>
                    <a:gd name="T8" fmla="*/ 241 w 485"/>
                    <a:gd name="T9" fmla="*/ 203 h 781"/>
                    <a:gd name="T10" fmla="*/ 255 w 485"/>
                    <a:gd name="T11" fmla="*/ 243 h 781"/>
                    <a:gd name="T12" fmla="*/ 272 w 485"/>
                    <a:gd name="T13" fmla="*/ 256 h 781"/>
                    <a:gd name="T14" fmla="*/ 288 w 485"/>
                    <a:gd name="T15" fmla="*/ 267 h 781"/>
                    <a:gd name="T16" fmla="*/ 277 w 485"/>
                    <a:gd name="T17" fmla="*/ 305 h 781"/>
                    <a:gd name="T18" fmla="*/ 272 w 485"/>
                    <a:gd name="T19" fmla="*/ 316 h 781"/>
                    <a:gd name="T20" fmla="*/ 273 w 485"/>
                    <a:gd name="T21" fmla="*/ 333 h 781"/>
                    <a:gd name="T22" fmla="*/ 260 w 485"/>
                    <a:gd name="T23" fmla="*/ 350 h 781"/>
                    <a:gd name="T24" fmla="*/ 261 w 485"/>
                    <a:gd name="T25" fmla="*/ 365 h 781"/>
                    <a:gd name="T26" fmla="*/ 271 w 485"/>
                    <a:gd name="T27" fmla="*/ 388 h 781"/>
                    <a:gd name="T28" fmla="*/ 297 w 485"/>
                    <a:gd name="T29" fmla="*/ 368 h 781"/>
                    <a:gd name="T30" fmla="*/ 303 w 485"/>
                    <a:gd name="T31" fmla="*/ 368 h 781"/>
                    <a:gd name="T32" fmla="*/ 309 w 485"/>
                    <a:gd name="T33" fmla="*/ 378 h 781"/>
                    <a:gd name="T34" fmla="*/ 310 w 485"/>
                    <a:gd name="T35" fmla="*/ 394 h 781"/>
                    <a:gd name="T36" fmla="*/ 315 w 485"/>
                    <a:gd name="T37" fmla="*/ 428 h 781"/>
                    <a:gd name="T38" fmla="*/ 323 w 485"/>
                    <a:gd name="T39" fmla="*/ 446 h 781"/>
                    <a:gd name="T40" fmla="*/ 326 w 485"/>
                    <a:gd name="T41" fmla="*/ 468 h 781"/>
                    <a:gd name="T42" fmla="*/ 342 w 485"/>
                    <a:gd name="T43" fmla="*/ 477 h 781"/>
                    <a:gd name="T44" fmla="*/ 341 w 485"/>
                    <a:gd name="T45" fmla="*/ 497 h 781"/>
                    <a:gd name="T46" fmla="*/ 346 w 485"/>
                    <a:gd name="T47" fmla="*/ 512 h 781"/>
                    <a:gd name="T48" fmla="*/ 361 w 485"/>
                    <a:gd name="T49" fmla="*/ 508 h 781"/>
                    <a:gd name="T50" fmla="*/ 381 w 485"/>
                    <a:gd name="T51" fmla="*/ 512 h 781"/>
                    <a:gd name="T52" fmla="*/ 395 w 485"/>
                    <a:gd name="T53" fmla="*/ 506 h 781"/>
                    <a:gd name="T54" fmla="*/ 405 w 485"/>
                    <a:gd name="T55" fmla="*/ 509 h 781"/>
                    <a:gd name="T56" fmla="*/ 433 w 485"/>
                    <a:gd name="T57" fmla="*/ 515 h 781"/>
                    <a:gd name="T58" fmla="*/ 457 w 485"/>
                    <a:gd name="T59" fmla="*/ 513 h 781"/>
                    <a:gd name="T60" fmla="*/ 465 w 485"/>
                    <a:gd name="T61" fmla="*/ 498 h 781"/>
                    <a:gd name="T62" fmla="*/ 478 w 485"/>
                    <a:gd name="T63" fmla="*/ 521 h 781"/>
                    <a:gd name="T64" fmla="*/ 449 w 485"/>
                    <a:gd name="T65" fmla="*/ 781 h 781"/>
                    <a:gd name="T66" fmla="*/ 223 w 485"/>
                    <a:gd name="T67" fmla="*/ 741 h 781"/>
                    <a:gd name="T68" fmla="*/ 40 w 485"/>
                    <a:gd name="T69" fmla="*/ 514 h 781"/>
                    <a:gd name="T70" fmla="*/ 51 w 485"/>
                    <a:gd name="T71" fmla="*/ 489 h 781"/>
                    <a:gd name="T72" fmla="*/ 54 w 485"/>
                    <a:gd name="T73" fmla="*/ 484 h 781"/>
                    <a:gd name="T74" fmla="*/ 52 w 485"/>
                    <a:gd name="T75" fmla="*/ 471 h 781"/>
                    <a:gd name="T76" fmla="*/ 38 w 485"/>
                    <a:gd name="T77" fmla="*/ 459 h 781"/>
                    <a:gd name="T78" fmla="*/ 60 w 485"/>
                    <a:gd name="T79" fmla="*/ 419 h 781"/>
                    <a:gd name="T80" fmla="*/ 79 w 485"/>
                    <a:gd name="T81" fmla="*/ 405 h 781"/>
                    <a:gd name="T82" fmla="*/ 85 w 485"/>
                    <a:gd name="T83" fmla="*/ 392 h 781"/>
                    <a:gd name="T84" fmla="*/ 118 w 485"/>
                    <a:gd name="T85" fmla="*/ 324 h 781"/>
                    <a:gd name="T86" fmla="*/ 104 w 485"/>
                    <a:gd name="T87" fmla="*/ 316 h 781"/>
                    <a:gd name="T88" fmla="*/ 96 w 485"/>
                    <a:gd name="T89" fmla="*/ 297 h 781"/>
                    <a:gd name="T90" fmla="*/ 98 w 485"/>
                    <a:gd name="T91" fmla="*/ 280 h 781"/>
                    <a:gd name="T92" fmla="*/ 95 w 485"/>
                    <a:gd name="T93" fmla="*/ 266 h 781"/>
                    <a:gd name="T94" fmla="*/ 98 w 485"/>
                    <a:gd name="T95" fmla="*/ 253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781">
                      <a:moveTo>
                        <a:pt x="155" y="0"/>
                      </a:moveTo>
                      <a:lnTo>
                        <a:pt x="220" y="13"/>
                      </a:lnTo>
                      <a:lnTo>
                        <a:pt x="202" y="111"/>
                      </a:lnTo>
                      <a:lnTo>
                        <a:pt x="214" y="137"/>
                      </a:lnTo>
                      <a:lnTo>
                        <a:pt x="217" y="154"/>
                      </a:lnTo>
                      <a:lnTo>
                        <a:pt x="214" y="164"/>
                      </a:lnTo>
                      <a:lnTo>
                        <a:pt x="210" y="169"/>
                      </a:lnTo>
                      <a:lnTo>
                        <a:pt x="215" y="175"/>
                      </a:lnTo>
                      <a:lnTo>
                        <a:pt x="223" y="186"/>
                      </a:lnTo>
                      <a:lnTo>
                        <a:pt x="241" y="203"/>
                      </a:lnTo>
                      <a:lnTo>
                        <a:pt x="253" y="230"/>
                      </a:lnTo>
                      <a:lnTo>
                        <a:pt x="255" y="243"/>
                      </a:lnTo>
                      <a:lnTo>
                        <a:pt x="261" y="256"/>
                      </a:lnTo>
                      <a:lnTo>
                        <a:pt x="272" y="256"/>
                      </a:lnTo>
                      <a:lnTo>
                        <a:pt x="273" y="264"/>
                      </a:lnTo>
                      <a:lnTo>
                        <a:pt x="288" y="267"/>
                      </a:lnTo>
                      <a:lnTo>
                        <a:pt x="293" y="272"/>
                      </a:lnTo>
                      <a:lnTo>
                        <a:pt x="277" y="305"/>
                      </a:lnTo>
                      <a:lnTo>
                        <a:pt x="277" y="311"/>
                      </a:lnTo>
                      <a:lnTo>
                        <a:pt x="272" y="316"/>
                      </a:lnTo>
                      <a:lnTo>
                        <a:pt x="271" y="332"/>
                      </a:lnTo>
                      <a:lnTo>
                        <a:pt x="273" y="333"/>
                      </a:lnTo>
                      <a:lnTo>
                        <a:pt x="272" y="342"/>
                      </a:lnTo>
                      <a:lnTo>
                        <a:pt x="260" y="350"/>
                      </a:lnTo>
                      <a:lnTo>
                        <a:pt x="260" y="359"/>
                      </a:lnTo>
                      <a:lnTo>
                        <a:pt x="261" y="365"/>
                      </a:lnTo>
                      <a:lnTo>
                        <a:pt x="257" y="373"/>
                      </a:lnTo>
                      <a:lnTo>
                        <a:pt x="271" y="388"/>
                      </a:lnTo>
                      <a:lnTo>
                        <a:pt x="275" y="386"/>
                      </a:lnTo>
                      <a:lnTo>
                        <a:pt x="297" y="368"/>
                      </a:lnTo>
                      <a:lnTo>
                        <a:pt x="301" y="367"/>
                      </a:lnTo>
                      <a:lnTo>
                        <a:pt x="303" y="368"/>
                      </a:lnTo>
                      <a:lnTo>
                        <a:pt x="306" y="376"/>
                      </a:lnTo>
                      <a:lnTo>
                        <a:pt x="309" y="378"/>
                      </a:lnTo>
                      <a:lnTo>
                        <a:pt x="313" y="381"/>
                      </a:lnTo>
                      <a:lnTo>
                        <a:pt x="310" y="394"/>
                      </a:lnTo>
                      <a:lnTo>
                        <a:pt x="310" y="415"/>
                      </a:lnTo>
                      <a:lnTo>
                        <a:pt x="315" y="428"/>
                      </a:lnTo>
                      <a:lnTo>
                        <a:pt x="323" y="440"/>
                      </a:lnTo>
                      <a:lnTo>
                        <a:pt x="323" y="446"/>
                      </a:lnTo>
                      <a:lnTo>
                        <a:pt x="318" y="455"/>
                      </a:lnTo>
                      <a:lnTo>
                        <a:pt x="326" y="468"/>
                      </a:lnTo>
                      <a:lnTo>
                        <a:pt x="335" y="468"/>
                      </a:lnTo>
                      <a:lnTo>
                        <a:pt x="342" y="477"/>
                      </a:lnTo>
                      <a:lnTo>
                        <a:pt x="344" y="484"/>
                      </a:lnTo>
                      <a:lnTo>
                        <a:pt x="341" y="497"/>
                      </a:lnTo>
                      <a:lnTo>
                        <a:pt x="341" y="501"/>
                      </a:lnTo>
                      <a:lnTo>
                        <a:pt x="346" y="512"/>
                      </a:lnTo>
                      <a:lnTo>
                        <a:pt x="357" y="518"/>
                      </a:lnTo>
                      <a:lnTo>
                        <a:pt x="361" y="508"/>
                      </a:lnTo>
                      <a:lnTo>
                        <a:pt x="365" y="505"/>
                      </a:lnTo>
                      <a:lnTo>
                        <a:pt x="381" y="512"/>
                      </a:lnTo>
                      <a:lnTo>
                        <a:pt x="389" y="512"/>
                      </a:lnTo>
                      <a:lnTo>
                        <a:pt x="395" y="506"/>
                      </a:lnTo>
                      <a:lnTo>
                        <a:pt x="401" y="505"/>
                      </a:lnTo>
                      <a:lnTo>
                        <a:pt x="405" y="509"/>
                      </a:lnTo>
                      <a:lnTo>
                        <a:pt x="424" y="510"/>
                      </a:lnTo>
                      <a:lnTo>
                        <a:pt x="433" y="515"/>
                      </a:lnTo>
                      <a:lnTo>
                        <a:pt x="436" y="513"/>
                      </a:lnTo>
                      <a:lnTo>
                        <a:pt x="457" y="513"/>
                      </a:lnTo>
                      <a:lnTo>
                        <a:pt x="456" y="505"/>
                      </a:lnTo>
                      <a:lnTo>
                        <a:pt x="465" y="498"/>
                      </a:lnTo>
                      <a:lnTo>
                        <a:pt x="475" y="509"/>
                      </a:lnTo>
                      <a:lnTo>
                        <a:pt x="478" y="521"/>
                      </a:lnTo>
                      <a:lnTo>
                        <a:pt x="485" y="528"/>
                      </a:lnTo>
                      <a:lnTo>
                        <a:pt x="449" y="781"/>
                      </a:lnTo>
                      <a:lnTo>
                        <a:pt x="448" y="781"/>
                      </a:lnTo>
                      <a:lnTo>
                        <a:pt x="223" y="741"/>
                      </a:lnTo>
                      <a:lnTo>
                        <a:pt x="0" y="695"/>
                      </a:lnTo>
                      <a:lnTo>
                        <a:pt x="40" y="514"/>
                      </a:lnTo>
                      <a:lnTo>
                        <a:pt x="50" y="501"/>
                      </a:lnTo>
                      <a:lnTo>
                        <a:pt x="51" y="489"/>
                      </a:lnTo>
                      <a:lnTo>
                        <a:pt x="53" y="488"/>
                      </a:lnTo>
                      <a:lnTo>
                        <a:pt x="54" y="484"/>
                      </a:lnTo>
                      <a:lnTo>
                        <a:pt x="57" y="479"/>
                      </a:lnTo>
                      <a:lnTo>
                        <a:pt x="52" y="471"/>
                      </a:lnTo>
                      <a:lnTo>
                        <a:pt x="40" y="465"/>
                      </a:lnTo>
                      <a:lnTo>
                        <a:pt x="38" y="459"/>
                      </a:lnTo>
                      <a:lnTo>
                        <a:pt x="41" y="447"/>
                      </a:lnTo>
                      <a:lnTo>
                        <a:pt x="60" y="419"/>
                      </a:lnTo>
                      <a:lnTo>
                        <a:pt x="71" y="413"/>
                      </a:lnTo>
                      <a:lnTo>
                        <a:pt x="79" y="405"/>
                      </a:lnTo>
                      <a:lnTo>
                        <a:pt x="79" y="398"/>
                      </a:lnTo>
                      <a:lnTo>
                        <a:pt x="85" y="392"/>
                      </a:lnTo>
                      <a:lnTo>
                        <a:pt x="120" y="338"/>
                      </a:lnTo>
                      <a:lnTo>
                        <a:pt x="118" y="324"/>
                      </a:lnTo>
                      <a:lnTo>
                        <a:pt x="111" y="317"/>
                      </a:lnTo>
                      <a:lnTo>
                        <a:pt x="104" y="316"/>
                      </a:lnTo>
                      <a:lnTo>
                        <a:pt x="97" y="306"/>
                      </a:lnTo>
                      <a:lnTo>
                        <a:pt x="96" y="297"/>
                      </a:lnTo>
                      <a:lnTo>
                        <a:pt x="95" y="284"/>
                      </a:lnTo>
                      <a:lnTo>
                        <a:pt x="98" y="280"/>
                      </a:lnTo>
                      <a:lnTo>
                        <a:pt x="100" y="274"/>
                      </a:lnTo>
                      <a:lnTo>
                        <a:pt x="95" y="266"/>
                      </a:lnTo>
                      <a:lnTo>
                        <a:pt x="95" y="257"/>
                      </a:lnTo>
                      <a:lnTo>
                        <a:pt x="98" y="253"/>
                      </a:lnTo>
                      <a:lnTo>
                        <a:pt x="155"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8" name="Freeform 23">
                  <a:extLst>
                    <a:ext uri="{FF2B5EF4-FFF2-40B4-BE49-F238E27FC236}">
                      <a16:creationId xmlns:a16="http://schemas.microsoft.com/office/drawing/2014/main" id="{81BFB04D-2C01-47EE-A178-E7BD9D3DFACD}"/>
                    </a:ext>
                  </a:extLst>
                </p:cNvPr>
                <p:cNvSpPr>
                  <a:spLocks/>
                </p:cNvSpPr>
                <p:nvPr/>
              </p:nvSpPr>
              <p:spPr bwMode="auto">
                <a:xfrm>
                  <a:off x="2545" y="1062"/>
                  <a:ext cx="761" cy="482"/>
                </a:xfrm>
                <a:custGeom>
                  <a:avLst/>
                  <a:gdLst>
                    <a:gd name="T0" fmla="*/ 291 w 830"/>
                    <a:gd name="T1" fmla="*/ 463 h 525"/>
                    <a:gd name="T2" fmla="*/ 276 w 830"/>
                    <a:gd name="T3" fmla="*/ 508 h 525"/>
                    <a:gd name="T4" fmla="*/ 263 w 830"/>
                    <a:gd name="T5" fmla="*/ 485 h 525"/>
                    <a:gd name="T6" fmla="*/ 255 w 830"/>
                    <a:gd name="T7" fmla="*/ 500 h 525"/>
                    <a:gd name="T8" fmla="*/ 231 w 830"/>
                    <a:gd name="T9" fmla="*/ 502 h 525"/>
                    <a:gd name="T10" fmla="*/ 203 w 830"/>
                    <a:gd name="T11" fmla="*/ 496 h 525"/>
                    <a:gd name="T12" fmla="*/ 193 w 830"/>
                    <a:gd name="T13" fmla="*/ 493 h 525"/>
                    <a:gd name="T14" fmla="*/ 179 w 830"/>
                    <a:gd name="T15" fmla="*/ 499 h 525"/>
                    <a:gd name="T16" fmla="*/ 159 w 830"/>
                    <a:gd name="T17" fmla="*/ 495 h 525"/>
                    <a:gd name="T18" fmla="*/ 144 w 830"/>
                    <a:gd name="T19" fmla="*/ 499 h 525"/>
                    <a:gd name="T20" fmla="*/ 139 w 830"/>
                    <a:gd name="T21" fmla="*/ 484 h 525"/>
                    <a:gd name="T22" fmla="*/ 140 w 830"/>
                    <a:gd name="T23" fmla="*/ 464 h 525"/>
                    <a:gd name="T24" fmla="*/ 124 w 830"/>
                    <a:gd name="T25" fmla="*/ 455 h 525"/>
                    <a:gd name="T26" fmla="*/ 121 w 830"/>
                    <a:gd name="T27" fmla="*/ 433 h 525"/>
                    <a:gd name="T28" fmla="*/ 113 w 830"/>
                    <a:gd name="T29" fmla="*/ 415 h 525"/>
                    <a:gd name="T30" fmla="*/ 108 w 830"/>
                    <a:gd name="T31" fmla="*/ 381 h 525"/>
                    <a:gd name="T32" fmla="*/ 107 w 830"/>
                    <a:gd name="T33" fmla="*/ 365 h 525"/>
                    <a:gd name="T34" fmla="*/ 101 w 830"/>
                    <a:gd name="T35" fmla="*/ 355 h 525"/>
                    <a:gd name="T36" fmla="*/ 95 w 830"/>
                    <a:gd name="T37" fmla="*/ 355 h 525"/>
                    <a:gd name="T38" fmla="*/ 69 w 830"/>
                    <a:gd name="T39" fmla="*/ 375 h 525"/>
                    <a:gd name="T40" fmla="*/ 59 w 830"/>
                    <a:gd name="T41" fmla="*/ 352 h 525"/>
                    <a:gd name="T42" fmla="*/ 58 w 830"/>
                    <a:gd name="T43" fmla="*/ 337 h 525"/>
                    <a:gd name="T44" fmla="*/ 71 w 830"/>
                    <a:gd name="T45" fmla="*/ 320 h 525"/>
                    <a:gd name="T46" fmla="*/ 70 w 830"/>
                    <a:gd name="T47" fmla="*/ 303 h 525"/>
                    <a:gd name="T48" fmla="*/ 75 w 830"/>
                    <a:gd name="T49" fmla="*/ 292 h 525"/>
                    <a:gd name="T50" fmla="*/ 86 w 830"/>
                    <a:gd name="T51" fmla="*/ 254 h 525"/>
                    <a:gd name="T52" fmla="*/ 70 w 830"/>
                    <a:gd name="T53" fmla="*/ 243 h 525"/>
                    <a:gd name="T54" fmla="*/ 53 w 830"/>
                    <a:gd name="T55" fmla="*/ 230 h 525"/>
                    <a:gd name="T56" fmla="*/ 39 w 830"/>
                    <a:gd name="T57" fmla="*/ 190 h 525"/>
                    <a:gd name="T58" fmla="*/ 13 w 830"/>
                    <a:gd name="T59" fmla="*/ 162 h 525"/>
                    <a:gd name="T60" fmla="*/ 12 w 830"/>
                    <a:gd name="T61" fmla="*/ 151 h 525"/>
                    <a:gd name="T62" fmla="*/ 12 w 830"/>
                    <a:gd name="T63" fmla="*/ 124 h 525"/>
                    <a:gd name="T64" fmla="*/ 18 w 830"/>
                    <a:gd name="T65" fmla="*/ 0 h 525"/>
                    <a:gd name="T66" fmla="*/ 297 w 830"/>
                    <a:gd name="T67" fmla="*/ 47 h 525"/>
                    <a:gd name="T68" fmla="*/ 830 w 830"/>
                    <a:gd name="T69" fmla="*/ 116 h 525"/>
                    <a:gd name="T70" fmla="*/ 795 w 830"/>
                    <a:gd name="T71" fmla="*/ 52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0" h="525">
                      <a:moveTo>
                        <a:pt x="795" y="525"/>
                      </a:moveTo>
                      <a:lnTo>
                        <a:pt x="291" y="463"/>
                      </a:lnTo>
                      <a:lnTo>
                        <a:pt x="283" y="515"/>
                      </a:lnTo>
                      <a:lnTo>
                        <a:pt x="276" y="508"/>
                      </a:lnTo>
                      <a:lnTo>
                        <a:pt x="273" y="496"/>
                      </a:lnTo>
                      <a:lnTo>
                        <a:pt x="263" y="485"/>
                      </a:lnTo>
                      <a:lnTo>
                        <a:pt x="254" y="492"/>
                      </a:lnTo>
                      <a:lnTo>
                        <a:pt x="255" y="500"/>
                      </a:lnTo>
                      <a:lnTo>
                        <a:pt x="234" y="500"/>
                      </a:lnTo>
                      <a:lnTo>
                        <a:pt x="231" y="502"/>
                      </a:lnTo>
                      <a:lnTo>
                        <a:pt x="222" y="497"/>
                      </a:lnTo>
                      <a:lnTo>
                        <a:pt x="203" y="496"/>
                      </a:lnTo>
                      <a:lnTo>
                        <a:pt x="199" y="492"/>
                      </a:lnTo>
                      <a:lnTo>
                        <a:pt x="193" y="493"/>
                      </a:lnTo>
                      <a:lnTo>
                        <a:pt x="187" y="499"/>
                      </a:lnTo>
                      <a:lnTo>
                        <a:pt x="179" y="499"/>
                      </a:lnTo>
                      <a:lnTo>
                        <a:pt x="163" y="492"/>
                      </a:lnTo>
                      <a:lnTo>
                        <a:pt x="159" y="495"/>
                      </a:lnTo>
                      <a:lnTo>
                        <a:pt x="155" y="505"/>
                      </a:lnTo>
                      <a:lnTo>
                        <a:pt x="144" y="499"/>
                      </a:lnTo>
                      <a:lnTo>
                        <a:pt x="139" y="488"/>
                      </a:lnTo>
                      <a:lnTo>
                        <a:pt x="139" y="484"/>
                      </a:lnTo>
                      <a:lnTo>
                        <a:pt x="142" y="471"/>
                      </a:lnTo>
                      <a:lnTo>
                        <a:pt x="140" y="464"/>
                      </a:lnTo>
                      <a:lnTo>
                        <a:pt x="133" y="455"/>
                      </a:lnTo>
                      <a:lnTo>
                        <a:pt x="124" y="455"/>
                      </a:lnTo>
                      <a:lnTo>
                        <a:pt x="116" y="442"/>
                      </a:lnTo>
                      <a:lnTo>
                        <a:pt x="121" y="433"/>
                      </a:lnTo>
                      <a:lnTo>
                        <a:pt x="121" y="427"/>
                      </a:lnTo>
                      <a:lnTo>
                        <a:pt x="113" y="415"/>
                      </a:lnTo>
                      <a:lnTo>
                        <a:pt x="108" y="402"/>
                      </a:lnTo>
                      <a:lnTo>
                        <a:pt x="108" y="381"/>
                      </a:lnTo>
                      <a:lnTo>
                        <a:pt x="111" y="368"/>
                      </a:lnTo>
                      <a:lnTo>
                        <a:pt x="107" y="365"/>
                      </a:lnTo>
                      <a:lnTo>
                        <a:pt x="104" y="363"/>
                      </a:lnTo>
                      <a:lnTo>
                        <a:pt x="101" y="355"/>
                      </a:lnTo>
                      <a:lnTo>
                        <a:pt x="99" y="354"/>
                      </a:lnTo>
                      <a:lnTo>
                        <a:pt x="95" y="355"/>
                      </a:lnTo>
                      <a:lnTo>
                        <a:pt x="73" y="373"/>
                      </a:lnTo>
                      <a:lnTo>
                        <a:pt x="69" y="375"/>
                      </a:lnTo>
                      <a:lnTo>
                        <a:pt x="55" y="360"/>
                      </a:lnTo>
                      <a:lnTo>
                        <a:pt x="59" y="352"/>
                      </a:lnTo>
                      <a:lnTo>
                        <a:pt x="58" y="346"/>
                      </a:lnTo>
                      <a:lnTo>
                        <a:pt x="58" y="337"/>
                      </a:lnTo>
                      <a:lnTo>
                        <a:pt x="70" y="329"/>
                      </a:lnTo>
                      <a:lnTo>
                        <a:pt x="71" y="320"/>
                      </a:lnTo>
                      <a:lnTo>
                        <a:pt x="69" y="319"/>
                      </a:lnTo>
                      <a:lnTo>
                        <a:pt x="70" y="303"/>
                      </a:lnTo>
                      <a:lnTo>
                        <a:pt x="75" y="298"/>
                      </a:lnTo>
                      <a:lnTo>
                        <a:pt x="75" y="292"/>
                      </a:lnTo>
                      <a:lnTo>
                        <a:pt x="91" y="259"/>
                      </a:lnTo>
                      <a:lnTo>
                        <a:pt x="86" y="254"/>
                      </a:lnTo>
                      <a:lnTo>
                        <a:pt x="71" y="251"/>
                      </a:lnTo>
                      <a:lnTo>
                        <a:pt x="70" y="243"/>
                      </a:lnTo>
                      <a:lnTo>
                        <a:pt x="59" y="243"/>
                      </a:lnTo>
                      <a:lnTo>
                        <a:pt x="53" y="230"/>
                      </a:lnTo>
                      <a:lnTo>
                        <a:pt x="51" y="217"/>
                      </a:lnTo>
                      <a:lnTo>
                        <a:pt x="39" y="190"/>
                      </a:lnTo>
                      <a:lnTo>
                        <a:pt x="21" y="173"/>
                      </a:lnTo>
                      <a:lnTo>
                        <a:pt x="13" y="162"/>
                      </a:lnTo>
                      <a:lnTo>
                        <a:pt x="8" y="156"/>
                      </a:lnTo>
                      <a:lnTo>
                        <a:pt x="12" y="151"/>
                      </a:lnTo>
                      <a:lnTo>
                        <a:pt x="15" y="141"/>
                      </a:lnTo>
                      <a:lnTo>
                        <a:pt x="12" y="124"/>
                      </a:lnTo>
                      <a:lnTo>
                        <a:pt x="0" y="98"/>
                      </a:lnTo>
                      <a:lnTo>
                        <a:pt x="18" y="0"/>
                      </a:lnTo>
                      <a:lnTo>
                        <a:pt x="94" y="13"/>
                      </a:lnTo>
                      <a:lnTo>
                        <a:pt x="297" y="47"/>
                      </a:lnTo>
                      <a:lnTo>
                        <a:pt x="505" y="83"/>
                      </a:lnTo>
                      <a:lnTo>
                        <a:pt x="830" y="116"/>
                      </a:lnTo>
                      <a:lnTo>
                        <a:pt x="804" y="426"/>
                      </a:lnTo>
                      <a:lnTo>
                        <a:pt x="795" y="525"/>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19" name="Freeform 24">
                  <a:extLst>
                    <a:ext uri="{FF2B5EF4-FFF2-40B4-BE49-F238E27FC236}">
                      <a16:creationId xmlns:a16="http://schemas.microsoft.com/office/drawing/2014/main" id="{273AE841-101F-4DE7-A7F7-ADAFD9998DCF}"/>
                    </a:ext>
                  </a:extLst>
                </p:cNvPr>
                <p:cNvSpPr>
                  <a:spLocks/>
                </p:cNvSpPr>
                <p:nvPr/>
              </p:nvSpPr>
              <p:spPr bwMode="auto">
                <a:xfrm>
                  <a:off x="2756" y="1487"/>
                  <a:ext cx="518" cy="431"/>
                </a:xfrm>
                <a:custGeom>
                  <a:avLst/>
                  <a:gdLst>
                    <a:gd name="T0" fmla="*/ 531 w 565"/>
                    <a:gd name="T1" fmla="*/ 470 h 470"/>
                    <a:gd name="T2" fmla="*/ 549 w 565"/>
                    <a:gd name="T3" fmla="*/ 264 h 470"/>
                    <a:gd name="T4" fmla="*/ 565 w 565"/>
                    <a:gd name="T5" fmla="*/ 62 h 470"/>
                    <a:gd name="T6" fmla="*/ 61 w 565"/>
                    <a:gd name="T7" fmla="*/ 0 h 470"/>
                    <a:gd name="T8" fmla="*/ 53 w 565"/>
                    <a:gd name="T9" fmla="*/ 52 h 470"/>
                    <a:gd name="T10" fmla="*/ 17 w 565"/>
                    <a:gd name="T11" fmla="*/ 305 h 470"/>
                    <a:gd name="T12" fmla="*/ 16 w 565"/>
                    <a:gd name="T13" fmla="*/ 305 h 470"/>
                    <a:gd name="T14" fmla="*/ 0 w 565"/>
                    <a:gd name="T15" fmla="*/ 405 h 470"/>
                    <a:gd name="T16" fmla="*/ 150 w 565"/>
                    <a:gd name="T17" fmla="*/ 429 h 470"/>
                    <a:gd name="T18" fmla="*/ 531 w 565"/>
                    <a:gd name="T19"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5" h="470">
                      <a:moveTo>
                        <a:pt x="531" y="470"/>
                      </a:moveTo>
                      <a:lnTo>
                        <a:pt x="549" y="264"/>
                      </a:lnTo>
                      <a:lnTo>
                        <a:pt x="565" y="62"/>
                      </a:lnTo>
                      <a:lnTo>
                        <a:pt x="61" y="0"/>
                      </a:lnTo>
                      <a:lnTo>
                        <a:pt x="53" y="52"/>
                      </a:lnTo>
                      <a:lnTo>
                        <a:pt x="17" y="305"/>
                      </a:lnTo>
                      <a:lnTo>
                        <a:pt x="16" y="305"/>
                      </a:lnTo>
                      <a:lnTo>
                        <a:pt x="0" y="405"/>
                      </a:lnTo>
                      <a:lnTo>
                        <a:pt x="150" y="429"/>
                      </a:lnTo>
                      <a:lnTo>
                        <a:pt x="531" y="47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0" name="Freeform 25">
                  <a:extLst>
                    <a:ext uri="{FF2B5EF4-FFF2-40B4-BE49-F238E27FC236}">
                      <a16:creationId xmlns:a16="http://schemas.microsoft.com/office/drawing/2014/main" id="{11FC18DC-93D3-478B-AF06-1C2779458A84}"/>
                    </a:ext>
                  </a:extLst>
                </p:cNvPr>
                <p:cNvSpPr>
                  <a:spLocks/>
                </p:cNvSpPr>
                <p:nvPr/>
              </p:nvSpPr>
              <p:spPr bwMode="auto">
                <a:xfrm>
                  <a:off x="2843" y="1880"/>
                  <a:ext cx="541" cy="428"/>
                </a:xfrm>
                <a:custGeom>
                  <a:avLst/>
                  <a:gdLst>
                    <a:gd name="T0" fmla="*/ 0 w 590"/>
                    <a:gd name="T1" fmla="*/ 407 h 466"/>
                    <a:gd name="T2" fmla="*/ 55 w 590"/>
                    <a:gd name="T3" fmla="*/ 0 h 466"/>
                    <a:gd name="T4" fmla="*/ 436 w 590"/>
                    <a:gd name="T5" fmla="*/ 41 h 466"/>
                    <a:gd name="T6" fmla="*/ 590 w 590"/>
                    <a:gd name="T7" fmla="*/ 54 h 466"/>
                    <a:gd name="T8" fmla="*/ 583 w 590"/>
                    <a:gd name="T9" fmla="*/ 156 h 466"/>
                    <a:gd name="T10" fmla="*/ 566 w 590"/>
                    <a:gd name="T11" fmla="*/ 466 h 466"/>
                    <a:gd name="T12" fmla="*/ 486 w 590"/>
                    <a:gd name="T13" fmla="*/ 461 h 466"/>
                    <a:gd name="T14" fmla="*/ 0 w 590"/>
                    <a:gd name="T15" fmla="*/ 407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466">
                      <a:moveTo>
                        <a:pt x="0" y="407"/>
                      </a:moveTo>
                      <a:lnTo>
                        <a:pt x="55" y="0"/>
                      </a:lnTo>
                      <a:lnTo>
                        <a:pt x="436" y="41"/>
                      </a:lnTo>
                      <a:lnTo>
                        <a:pt x="590" y="54"/>
                      </a:lnTo>
                      <a:lnTo>
                        <a:pt x="583" y="156"/>
                      </a:lnTo>
                      <a:lnTo>
                        <a:pt x="566" y="466"/>
                      </a:lnTo>
                      <a:lnTo>
                        <a:pt x="486" y="461"/>
                      </a:lnTo>
                      <a:lnTo>
                        <a:pt x="0" y="407"/>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1" name="Freeform 26">
                  <a:extLst>
                    <a:ext uri="{FF2B5EF4-FFF2-40B4-BE49-F238E27FC236}">
                      <a16:creationId xmlns:a16="http://schemas.microsoft.com/office/drawing/2014/main" id="{F11A59FD-C8DF-47BF-9C52-B48CEA379C12}"/>
                    </a:ext>
                  </a:extLst>
                </p:cNvPr>
                <p:cNvSpPr>
                  <a:spLocks/>
                </p:cNvSpPr>
                <p:nvPr/>
              </p:nvSpPr>
              <p:spPr bwMode="auto">
                <a:xfrm>
                  <a:off x="2474" y="1730"/>
                  <a:ext cx="420" cy="523"/>
                </a:xfrm>
                <a:custGeom>
                  <a:avLst/>
                  <a:gdLst>
                    <a:gd name="T0" fmla="*/ 402 w 457"/>
                    <a:gd name="T1" fmla="*/ 571 h 571"/>
                    <a:gd name="T2" fmla="*/ 457 w 457"/>
                    <a:gd name="T3" fmla="*/ 164 h 571"/>
                    <a:gd name="T4" fmla="*/ 307 w 457"/>
                    <a:gd name="T5" fmla="*/ 140 h 571"/>
                    <a:gd name="T6" fmla="*/ 323 w 457"/>
                    <a:gd name="T7" fmla="*/ 40 h 571"/>
                    <a:gd name="T8" fmla="*/ 98 w 457"/>
                    <a:gd name="T9" fmla="*/ 0 h 571"/>
                    <a:gd name="T10" fmla="*/ 0 w 457"/>
                    <a:gd name="T11" fmla="*/ 508 h 571"/>
                    <a:gd name="T12" fmla="*/ 402 w 457"/>
                    <a:gd name="T13" fmla="*/ 571 h 571"/>
                  </a:gdLst>
                  <a:ahLst/>
                  <a:cxnLst>
                    <a:cxn ang="0">
                      <a:pos x="T0" y="T1"/>
                    </a:cxn>
                    <a:cxn ang="0">
                      <a:pos x="T2" y="T3"/>
                    </a:cxn>
                    <a:cxn ang="0">
                      <a:pos x="T4" y="T5"/>
                    </a:cxn>
                    <a:cxn ang="0">
                      <a:pos x="T6" y="T7"/>
                    </a:cxn>
                    <a:cxn ang="0">
                      <a:pos x="T8" y="T9"/>
                    </a:cxn>
                    <a:cxn ang="0">
                      <a:pos x="T10" y="T11"/>
                    </a:cxn>
                    <a:cxn ang="0">
                      <a:pos x="T12" y="T13"/>
                    </a:cxn>
                  </a:cxnLst>
                  <a:rect l="0" t="0" r="r" b="b"/>
                  <a:pathLst>
                    <a:path w="457" h="571">
                      <a:moveTo>
                        <a:pt x="402" y="571"/>
                      </a:moveTo>
                      <a:lnTo>
                        <a:pt x="457" y="164"/>
                      </a:lnTo>
                      <a:lnTo>
                        <a:pt x="307" y="140"/>
                      </a:lnTo>
                      <a:lnTo>
                        <a:pt x="323" y="40"/>
                      </a:lnTo>
                      <a:lnTo>
                        <a:pt x="98" y="0"/>
                      </a:lnTo>
                      <a:lnTo>
                        <a:pt x="0" y="508"/>
                      </a:lnTo>
                      <a:lnTo>
                        <a:pt x="402" y="571"/>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2" name="Freeform 27">
                  <a:extLst>
                    <a:ext uri="{FF2B5EF4-FFF2-40B4-BE49-F238E27FC236}">
                      <a16:creationId xmlns:a16="http://schemas.microsoft.com/office/drawing/2014/main" id="{8C5CB296-9269-4C99-BB2E-AE00155734EB}"/>
                    </a:ext>
                  </a:extLst>
                </p:cNvPr>
                <p:cNvSpPr>
                  <a:spLocks/>
                </p:cNvSpPr>
                <p:nvPr/>
              </p:nvSpPr>
              <p:spPr bwMode="auto">
                <a:xfrm>
                  <a:off x="3363" y="2024"/>
                  <a:ext cx="550" cy="296"/>
                </a:xfrm>
                <a:custGeom>
                  <a:avLst/>
                  <a:gdLst>
                    <a:gd name="T0" fmla="*/ 17 w 601"/>
                    <a:gd name="T1" fmla="*/ 0 h 323"/>
                    <a:gd name="T2" fmla="*/ 540 w 601"/>
                    <a:gd name="T3" fmla="*/ 12 h 323"/>
                    <a:gd name="T4" fmla="*/ 573 w 601"/>
                    <a:gd name="T5" fmla="*/ 38 h 323"/>
                    <a:gd name="T6" fmla="*/ 563 w 601"/>
                    <a:gd name="T7" fmla="*/ 51 h 323"/>
                    <a:gd name="T8" fmla="*/ 561 w 601"/>
                    <a:gd name="T9" fmla="*/ 64 h 323"/>
                    <a:gd name="T10" fmla="*/ 566 w 601"/>
                    <a:gd name="T11" fmla="*/ 70 h 323"/>
                    <a:gd name="T12" fmla="*/ 575 w 601"/>
                    <a:gd name="T13" fmla="*/ 74 h 323"/>
                    <a:gd name="T14" fmla="*/ 580 w 601"/>
                    <a:gd name="T15" fmla="*/ 92 h 323"/>
                    <a:gd name="T16" fmla="*/ 588 w 601"/>
                    <a:gd name="T17" fmla="*/ 97 h 323"/>
                    <a:gd name="T18" fmla="*/ 596 w 601"/>
                    <a:gd name="T19" fmla="*/ 99 h 323"/>
                    <a:gd name="T20" fmla="*/ 599 w 601"/>
                    <a:gd name="T21" fmla="*/ 101 h 323"/>
                    <a:gd name="T22" fmla="*/ 601 w 601"/>
                    <a:gd name="T23" fmla="*/ 323 h 323"/>
                    <a:gd name="T24" fmla="*/ 0 w 601"/>
                    <a:gd name="T25" fmla="*/ 310 h 323"/>
                    <a:gd name="T26" fmla="*/ 17 w 601"/>
                    <a:gd name="T2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1" h="323">
                      <a:moveTo>
                        <a:pt x="17" y="0"/>
                      </a:moveTo>
                      <a:lnTo>
                        <a:pt x="540" y="12"/>
                      </a:lnTo>
                      <a:lnTo>
                        <a:pt x="573" y="38"/>
                      </a:lnTo>
                      <a:lnTo>
                        <a:pt x="563" y="51"/>
                      </a:lnTo>
                      <a:lnTo>
                        <a:pt x="561" y="64"/>
                      </a:lnTo>
                      <a:lnTo>
                        <a:pt x="566" y="70"/>
                      </a:lnTo>
                      <a:lnTo>
                        <a:pt x="575" y="74"/>
                      </a:lnTo>
                      <a:lnTo>
                        <a:pt x="580" y="92"/>
                      </a:lnTo>
                      <a:lnTo>
                        <a:pt x="588" y="97"/>
                      </a:lnTo>
                      <a:lnTo>
                        <a:pt x="596" y="99"/>
                      </a:lnTo>
                      <a:lnTo>
                        <a:pt x="599" y="101"/>
                      </a:lnTo>
                      <a:lnTo>
                        <a:pt x="601" y="323"/>
                      </a:lnTo>
                      <a:lnTo>
                        <a:pt x="0" y="310"/>
                      </a:lnTo>
                      <a:lnTo>
                        <a:pt x="17"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3" name="Freeform 28">
                  <a:extLst>
                    <a:ext uri="{FF2B5EF4-FFF2-40B4-BE49-F238E27FC236}">
                      <a16:creationId xmlns:a16="http://schemas.microsoft.com/office/drawing/2014/main" id="{3495D3BB-64C9-4583-90EE-1015284CD2EB}"/>
                    </a:ext>
                  </a:extLst>
                </p:cNvPr>
                <p:cNvSpPr>
                  <a:spLocks/>
                </p:cNvSpPr>
                <p:nvPr/>
              </p:nvSpPr>
              <p:spPr bwMode="auto">
                <a:xfrm>
                  <a:off x="3287" y="2303"/>
                  <a:ext cx="641" cy="332"/>
                </a:xfrm>
                <a:custGeom>
                  <a:avLst/>
                  <a:gdLst>
                    <a:gd name="T0" fmla="*/ 83 w 700"/>
                    <a:gd name="T1" fmla="*/ 5 h 361"/>
                    <a:gd name="T2" fmla="*/ 0 w 700"/>
                    <a:gd name="T3" fmla="*/ 50 h 361"/>
                    <a:gd name="T4" fmla="*/ 238 w 700"/>
                    <a:gd name="T5" fmla="*/ 262 h 361"/>
                    <a:gd name="T6" fmla="*/ 251 w 700"/>
                    <a:gd name="T7" fmla="*/ 267 h 361"/>
                    <a:gd name="T8" fmla="*/ 269 w 700"/>
                    <a:gd name="T9" fmla="*/ 285 h 361"/>
                    <a:gd name="T10" fmla="*/ 291 w 700"/>
                    <a:gd name="T11" fmla="*/ 279 h 361"/>
                    <a:gd name="T12" fmla="*/ 303 w 700"/>
                    <a:gd name="T13" fmla="*/ 288 h 361"/>
                    <a:gd name="T14" fmla="*/ 307 w 700"/>
                    <a:gd name="T15" fmla="*/ 300 h 361"/>
                    <a:gd name="T16" fmla="*/ 332 w 700"/>
                    <a:gd name="T17" fmla="*/ 306 h 361"/>
                    <a:gd name="T18" fmla="*/ 345 w 700"/>
                    <a:gd name="T19" fmla="*/ 310 h 361"/>
                    <a:gd name="T20" fmla="*/ 353 w 700"/>
                    <a:gd name="T21" fmla="*/ 307 h 361"/>
                    <a:gd name="T22" fmla="*/ 367 w 700"/>
                    <a:gd name="T23" fmla="*/ 319 h 361"/>
                    <a:gd name="T24" fmla="*/ 395 w 700"/>
                    <a:gd name="T25" fmla="*/ 315 h 361"/>
                    <a:gd name="T26" fmla="*/ 404 w 700"/>
                    <a:gd name="T27" fmla="*/ 327 h 361"/>
                    <a:gd name="T28" fmla="*/ 407 w 700"/>
                    <a:gd name="T29" fmla="*/ 339 h 361"/>
                    <a:gd name="T30" fmla="*/ 427 w 700"/>
                    <a:gd name="T31" fmla="*/ 331 h 361"/>
                    <a:gd name="T32" fmla="*/ 453 w 700"/>
                    <a:gd name="T33" fmla="*/ 344 h 361"/>
                    <a:gd name="T34" fmla="*/ 465 w 700"/>
                    <a:gd name="T35" fmla="*/ 338 h 361"/>
                    <a:gd name="T36" fmla="*/ 473 w 700"/>
                    <a:gd name="T37" fmla="*/ 342 h 361"/>
                    <a:gd name="T38" fmla="*/ 475 w 700"/>
                    <a:gd name="T39" fmla="*/ 357 h 361"/>
                    <a:gd name="T40" fmla="*/ 479 w 700"/>
                    <a:gd name="T41" fmla="*/ 347 h 361"/>
                    <a:gd name="T42" fmla="*/ 494 w 700"/>
                    <a:gd name="T43" fmla="*/ 334 h 361"/>
                    <a:gd name="T44" fmla="*/ 498 w 700"/>
                    <a:gd name="T45" fmla="*/ 341 h 361"/>
                    <a:gd name="T46" fmla="*/ 511 w 700"/>
                    <a:gd name="T47" fmla="*/ 344 h 361"/>
                    <a:gd name="T48" fmla="*/ 521 w 700"/>
                    <a:gd name="T49" fmla="*/ 340 h 361"/>
                    <a:gd name="T50" fmla="*/ 523 w 700"/>
                    <a:gd name="T51" fmla="*/ 344 h 361"/>
                    <a:gd name="T52" fmla="*/ 544 w 700"/>
                    <a:gd name="T53" fmla="*/ 357 h 361"/>
                    <a:gd name="T54" fmla="*/ 563 w 700"/>
                    <a:gd name="T55" fmla="*/ 344 h 361"/>
                    <a:gd name="T56" fmla="*/ 596 w 700"/>
                    <a:gd name="T57" fmla="*/ 337 h 361"/>
                    <a:gd name="T58" fmla="*/ 609 w 700"/>
                    <a:gd name="T59" fmla="*/ 336 h 361"/>
                    <a:gd name="T60" fmla="*/ 640 w 700"/>
                    <a:gd name="T61" fmla="*/ 335 h 361"/>
                    <a:gd name="T62" fmla="*/ 683 w 700"/>
                    <a:gd name="T63" fmla="*/ 354 h 361"/>
                    <a:gd name="T64" fmla="*/ 693 w 700"/>
                    <a:gd name="T65" fmla="*/ 360 h 361"/>
                    <a:gd name="T66" fmla="*/ 700 w 700"/>
                    <a:gd name="T67" fmla="*/ 181 h 361"/>
                    <a:gd name="T68" fmla="*/ 684 w 700"/>
                    <a:gd name="T69"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0" h="361">
                      <a:moveTo>
                        <a:pt x="684" y="18"/>
                      </a:moveTo>
                      <a:lnTo>
                        <a:pt x="83" y="5"/>
                      </a:lnTo>
                      <a:lnTo>
                        <a:pt x="3" y="0"/>
                      </a:lnTo>
                      <a:lnTo>
                        <a:pt x="0" y="50"/>
                      </a:lnTo>
                      <a:lnTo>
                        <a:pt x="244" y="64"/>
                      </a:lnTo>
                      <a:lnTo>
                        <a:pt x="238" y="262"/>
                      </a:lnTo>
                      <a:lnTo>
                        <a:pt x="247" y="263"/>
                      </a:lnTo>
                      <a:lnTo>
                        <a:pt x="251" y="267"/>
                      </a:lnTo>
                      <a:lnTo>
                        <a:pt x="263" y="283"/>
                      </a:lnTo>
                      <a:lnTo>
                        <a:pt x="269" y="285"/>
                      </a:lnTo>
                      <a:lnTo>
                        <a:pt x="286" y="283"/>
                      </a:lnTo>
                      <a:lnTo>
                        <a:pt x="291" y="279"/>
                      </a:lnTo>
                      <a:lnTo>
                        <a:pt x="301" y="283"/>
                      </a:lnTo>
                      <a:lnTo>
                        <a:pt x="303" y="288"/>
                      </a:lnTo>
                      <a:lnTo>
                        <a:pt x="303" y="293"/>
                      </a:lnTo>
                      <a:lnTo>
                        <a:pt x="307" y="300"/>
                      </a:lnTo>
                      <a:lnTo>
                        <a:pt x="310" y="302"/>
                      </a:lnTo>
                      <a:lnTo>
                        <a:pt x="332" y="306"/>
                      </a:lnTo>
                      <a:lnTo>
                        <a:pt x="340" y="310"/>
                      </a:lnTo>
                      <a:lnTo>
                        <a:pt x="345" y="310"/>
                      </a:lnTo>
                      <a:lnTo>
                        <a:pt x="347" y="308"/>
                      </a:lnTo>
                      <a:lnTo>
                        <a:pt x="353" y="307"/>
                      </a:lnTo>
                      <a:lnTo>
                        <a:pt x="359" y="315"/>
                      </a:lnTo>
                      <a:lnTo>
                        <a:pt x="367" y="319"/>
                      </a:lnTo>
                      <a:lnTo>
                        <a:pt x="373" y="312"/>
                      </a:lnTo>
                      <a:lnTo>
                        <a:pt x="395" y="315"/>
                      </a:lnTo>
                      <a:lnTo>
                        <a:pt x="395" y="319"/>
                      </a:lnTo>
                      <a:lnTo>
                        <a:pt x="404" y="327"/>
                      </a:lnTo>
                      <a:lnTo>
                        <a:pt x="407" y="328"/>
                      </a:lnTo>
                      <a:lnTo>
                        <a:pt x="407" y="339"/>
                      </a:lnTo>
                      <a:lnTo>
                        <a:pt x="423" y="342"/>
                      </a:lnTo>
                      <a:lnTo>
                        <a:pt x="427" y="331"/>
                      </a:lnTo>
                      <a:lnTo>
                        <a:pt x="433" y="329"/>
                      </a:lnTo>
                      <a:lnTo>
                        <a:pt x="453" y="344"/>
                      </a:lnTo>
                      <a:lnTo>
                        <a:pt x="456" y="344"/>
                      </a:lnTo>
                      <a:lnTo>
                        <a:pt x="465" y="338"/>
                      </a:lnTo>
                      <a:lnTo>
                        <a:pt x="472" y="338"/>
                      </a:lnTo>
                      <a:lnTo>
                        <a:pt x="473" y="342"/>
                      </a:lnTo>
                      <a:lnTo>
                        <a:pt x="471" y="351"/>
                      </a:lnTo>
                      <a:lnTo>
                        <a:pt x="475" y="357"/>
                      </a:lnTo>
                      <a:lnTo>
                        <a:pt x="480" y="353"/>
                      </a:lnTo>
                      <a:lnTo>
                        <a:pt x="479" y="347"/>
                      </a:lnTo>
                      <a:lnTo>
                        <a:pt x="486" y="339"/>
                      </a:lnTo>
                      <a:lnTo>
                        <a:pt x="494" y="334"/>
                      </a:lnTo>
                      <a:lnTo>
                        <a:pt x="497" y="335"/>
                      </a:lnTo>
                      <a:lnTo>
                        <a:pt x="498" y="341"/>
                      </a:lnTo>
                      <a:lnTo>
                        <a:pt x="507" y="344"/>
                      </a:lnTo>
                      <a:lnTo>
                        <a:pt x="511" y="344"/>
                      </a:lnTo>
                      <a:lnTo>
                        <a:pt x="515" y="339"/>
                      </a:lnTo>
                      <a:lnTo>
                        <a:pt x="521" y="340"/>
                      </a:lnTo>
                      <a:lnTo>
                        <a:pt x="523" y="342"/>
                      </a:lnTo>
                      <a:lnTo>
                        <a:pt x="523" y="344"/>
                      </a:lnTo>
                      <a:lnTo>
                        <a:pt x="532" y="348"/>
                      </a:lnTo>
                      <a:lnTo>
                        <a:pt x="544" y="357"/>
                      </a:lnTo>
                      <a:lnTo>
                        <a:pt x="558" y="347"/>
                      </a:lnTo>
                      <a:lnTo>
                        <a:pt x="563" y="344"/>
                      </a:lnTo>
                      <a:lnTo>
                        <a:pt x="581" y="343"/>
                      </a:lnTo>
                      <a:lnTo>
                        <a:pt x="596" y="337"/>
                      </a:lnTo>
                      <a:lnTo>
                        <a:pt x="602" y="336"/>
                      </a:lnTo>
                      <a:lnTo>
                        <a:pt x="609" y="336"/>
                      </a:lnTo>
                      <a:lnTo>
                        <a:pt x="628" y="339"/>
                      </a:lnTo>
                      <a:lnTo>
                        <a:pt x="640" y="335"/>
                      </a:lnTo>
                      <a:lnTo>
                        <a:pt x="642" y="332"/>
                      </a:lnTo>
                      <a:lnTo>
                        <a:pt x="683" y="354"/>
                      </a:lnTo>
                      <a:lnTo>
                        <a:pt x="690" y="356"/>
                      </a:lnTo>
                      <a:lnTo>
                        <a:pt x="693" y="360"/>
                      </a:lnTo>
                      <a:lnTo>
                        <a:pt x="697" y="361"/>
                      </a:lnTo>
                      <a:lnTo>
                        <a:pt x="700" y="181"/>
                      </a:lnTo>
                      <a:lnTo>
                        <a:pt x="685" y="69"/>
                      </a:lnTo>
                      <a:lnTo>
                        <a:pt x="684" y="18"/>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4" name="Freeform 29">
                  <a:extLst>
                    <a:ext uri="{FF2B5EF4-FFF2-40B4-BE49-F238E27FC236}">
                      <a16:creationId xmlns:a16="http://schemas.microsoft.com/office/drawing/2014/main" id="{E37641EC-2CB8-4CA2-8CBC-EB553517A166}"/>
                    </a:ext>
                  </a:extLst>
                </p:cNvPr>
                <p:cNvSpPr>
                  <a:spLocks/>
                </p:cNvSpPr>
                <p:nvPr/>
              </p:nvSpPr>
              <p:spPr bwMode="auto">
                <a:xfrm>
                  <a:off x="3243" y="1729"/>
                  <a:ext cx="616" cy="305"/>
                </a:xfrm>
                <a:custGeom>
                  <a:avLst/>
                  <a:gdLst>
                    <a:gd name="T0" fmla="*/ 0 w 671"/>
                    <a:gd name="T1" fmla="*/ 206 h 333"/>
                    <a:gd name="T2" fmla="*/ 18 w 671"/>
                    <a:gd name="T3" fmla="*/ 0 h 333"/>
                    <a:gd name="T4" fmla="*/ 430 w 671"/>
                    <a:gd name="T5" fmla="*/ 22 h 333"/>
                    <a:gd name="T6" fmla="*/ 442 w 671"/>
                    <a:gd name="T7" fmla="*/ 38 h 333"/>
                    <a:gd name="T8" fmla="*/ 455 w 671"/>
                    <a:gd name="T9" fmla="*/ 38 h 333"/>
                    <a:gd name="T10" fmla="*/ 466 w 671"/>
                    <a:gd name="T11" fmla="*/ 36 h 333"/>
                    <a:gd name="T12" fmla="*/ 474 w 671"/>
                    <a:gd name="T13" fmla="*/ 41 h 333"/>
                    <a:gd name="T14" fmla="*/ 480 w 671"/>
                    <a:gd name="T15" fmla="*/ 55 h 333"/>
                    <a:gd name="T16" fmla="*/ 490 w 671"/>
                    <a:gd name="T17" fmla="*/ 57 h 333"/>
                    <a:gd name="T18" fmla="*/ 502 w 671"/>
                    <a:gd name="T19" fmla="*/ 55 h 333"/>
                    <a:gd name="T20" fmla="*/ 512 w 671"/>
                    <a:gd name="T21" fmla="*/ 47 h 333"/>
                    <a:gd name="T22" fmla="*/ 526 w 671"/>
                    <a:gd name="T23" fmla="*/ 47 h 333"/>
                    <a:gd name="T24" fmla="*/ 534 w 671"/>
                    <a:gd name="T25" fmla="*/ 49 h 333"/>
                    <a:gd name="T26" fmla="*/ 566 w 671"/>
                    <a:gd name="T27" fmla="*/ 71 h 333"/>
                    <a:gd name="T28" fmla="*/ 583 w 671"/>
                    <a:gd name="T29" fmla="*/ 82 h 333"/>
                    <a:gd name="T30" fmla="*/ 583 w 671"/>
                    <a:gd name="T31" fmla="*/ 93 h 333"/>
                    <a:gd name="T32" fmla="*/ 595 w 671"/>
                    <a:gd name="T33" fmla="*/ 100 h 333"/>
                    <a:gd name="T34" fmla="*/ 595 w 671"/>
                    <a:gd name="T35" fmla="*/ 107 h 333"/>
                    <a:gd name="T36" fmla="*/ 590 w 671"/>
                    <a:gd name="T37" fmla="*/ 121 h 333"/>
                    <a:gd name="T38" fmla="*/ 598 w 671"/>
                    <a:gd name="T39" fmla="*/ 129 h 333"/>
                    <a:gd name="T40" fmla="*/ 603 w 671"/>
                    <a:gd name="T41" fmla="*/ 145 h 333"/>
                    <a:gd name="T42" fmla="*/ 611 w 671"/>
                    <a:gd name="T43" fmla="*/ 153 h 333"/>
                    <a:gd name="T44" fmla="*/ 608 w 671"/>
                    <a:gd name="T45" fmla="*/ 161 h 333"/>
                    <a:gd name="T46" fmla="*/ 611 w 671"/>
                    <a:gd name="T47" fmla="*/ 170 h 333"/>
                    <a:gd name="T48" fmla="*/ 622 w 671"/>
                    <a:gd name="T49" fmla="*/ 178 h 333"/>
                    <a:gd name="T50" fmla="*/ 625 w 671"/>
                    <a:gd name="T51" fmla="*/ 186 h 333"/>
                    <a:gd name="T52" fmla="*/ 622 w 671"/>
                    <a:gd name="T53" fmla="*/ 195 h 333"/>
                    <a:gd name="T54" fmla="*/ 619 w 671"/>
                    <a:gd name="T55" fmla="*/ 211 h 333"/>
                    <a:gd name="T56" fmla="*/ 630 w 671"/>
                    <a:gd name="T57" fmla="*/ 217 h 333"/>
                    <a:gd name="T58" fmla="*/ 633 w 671"/>
                    <a:gd name="T59" fmla="*/ 225 h 333"/>
                    <a:gd name="T60" fmla="*/ 627 w 671"/>
                    <a:gd name="T61" fmla="*/ 233 h 333"/>
                    <a:gd name="T62" fmla="*/ 630 w 671"/>
                    <a:gd name="T63" fmla="*/ 241 h 333"/>
                    <a:gd name="T64" fmla="*/ 635 w 671"/>
                    <a:gd name="T65" fmla="*/ 249 h 333"/>
                    <a:gd name="T66" fmla="*/ 633 w 671"/>
                    <a:gd name="T67" fmla="*/ 257 h 333"/>
                    <a:gd name="T68" fmla="*/ 635 w 671"/>
                    <a:gd name="T69" fmla="*/ 268 h 333"/>
                    <a:gd name="T70" fmla="*/ 639 w 671"/>
                    <a:gd name="T71" fmla="*/ 273 h 333"/>
                    <a:gd name="T72" fmla="*/ 644 w 671"/>
                    <a:gd name="T73" fmla="*/ 281 h 333"/>
                    <a:gd name="T74" fmla="*/ 652 w 671"/>
                    <a:gd name="T75" fmla="*/ 289 h 333"/>
                    <a:gd name="T76" fmla="*/ 655 w 671"/>
                    <a:gd name="T77" fmla="*/ 303 h 333"/>
                    <a:gd name="T78" fmla="*/ 666 w 671"/>
                    <a:gd name="T79" fmla="*/ 317 h 333"/>
                    <a:gd name="T80" fmla="*/ 671 w 671"/>
                    <a:gd name="T81" fmla="*/ 320 h 333"/>
                    <a:gd name="T82" fmla="*/ 668 w 671"/>
                    <a:gd name="T83" fmla="*/ 330 h 333"/>
                    <a:gd name="T84" fmla="*/ 670 w 671"/>
                    <a:gd name="T85" fmla="*/ 333 h 333"/>
                    <a:gd name="T86" fmla="*/ 147 w 671"/>
                    <a:gd name="T87" fmla="*/ 321 h 333"/>
                    <a:gd name="T88" fmla="*/ 154 w 671"/>
                    <a:gd name="T89" fmla="*/ 219 h 333"/>
                    <a:gd name="T90" fmla="*/ 0 w 671"/>
                    <a:gd name="T91" fmla="*/ 206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1" h="333">
                      <a:moveTo>
                        <a:pt x="0" y="206"/>
                      </a:moveTo>
                      <a:lnTo>
                        <a:pt x="18" y="0"/>
                      </a:lnTo>
                      <a:lnTo>
                        <a:pt x="430" y="22"/>
                      </a:lnTo>
                      <a:lnTo>
                        <a:pt x="442" y="38"/>
                      </a:lnTo>
                      <a:lnTo>
                        <a:pt x="455" y="38"/>
                      </a:lnTo>
                      <a:lnTo>
                        <a:pt x="466" y="36"/>
                      </a:lnTo>
                      <a:lnTo>
                        <a:pt x="474" y="41"/>
                      </a:lnTo>
                      <a:lnTo>
                        <a:pt x="480" y="55"/>
                      </a:lnTo>
                      <a:lnTo>
                        <a:pt x="490" y="57"/>
                      </a:lnTo>
                      <a:lnTo>
                        <a:pt x="502" y="55"/>
                      </a:lnTo>
                      <a:lnTo>
                        <a:pt x="512" y="47"/>
                      </a:lnTo>
                      <a:lnTo>
                        <a:pt x="526" y="47"/>
                      </a:lnTo>
                      <a:lnTo>
                        <a:pt x="534" y="49"/>
                      </a:lnTo>
                      <a:lnTo>
                        <a:pt x="566" y="71"/>
                      </a:lnTo>
                      <a:lnTo>
                        <a:pt x="583" y="82"/>
                      </a:lnTo>
                      <a:lnTo>
                        <a:pt x="583" y="93"/>
                      </a:lnTo>
                      <a:lnTo>
                        <a:pt x="595" y="100"/>
                      </a:lnTo>
                      <a:lnTo>
                        <a:pt x="595" y="107"/>
                      </a:lnTo>
                      <a:lnTo>
                        <a:pt x="590" y="121"/>
                      </a:lnTo>
                      <a:lnTo>
                        <a:pt x="598" y="129"/>
                      </a:lnTo>
                      <a:lnTo>
                        <a:pt x="603" y="145"/>
                      </a:lnTo>
                      <a:lnTo>
                        <a:pt x="611" y="153"/>
                      </a:lnTo>
                      <a:lnTo>
                        <a:pt x="608" y="161"/>
                      </a:lnTo>
                      <a:lnTo>
                        <a:pt x="611" y="170"/>
                      </a:lnTo>
                      <a:lnTo>
                        <a:pt x="622" y="178"/>
                      </a:lnTo>
                      <a:lnTo>
                        <a:pt x="625" y="186"/>
                      </a:lnTo>
                      <a:lnTo>
                        <a:pt x="622" y="195"/>
                      </a:lnTo>
                      <a:lnTo>
                        <a:pt x="619" y="211"/>
                      </a:lnTo>
                      <a:lnTo>
                        <a:pt x="630" y="217"/>
                      </a:lnTo>
                      <a:lnTo>
                        <a:pt x="633" y="225"/>
                      </a:lnTo>
                      <a:lnTo>
                        <a:pt x="627" y="233"/>
                      </a:lnTo>
                      <a:lnTo>
                        <a:pt x="630" y="241"/>
                      </a:lnTo>
                      <a:lnTo>
                        <a:pt x="635" y="249"/>
                      </a:lnTo>
                      <a:lnTo>
                        <a:pt x="633" y="257"/>
                      </a:lnTo>
                      <a:lnTo>
                        <a:pt x="635" y="268"/>
                      </a:lnTo>
                      <a:lnTo>
                        <a:pt x="639" y="273"/>
                      </a:lnTo>
                      <a:lnTo>
                        <a:pt x="644" y="281"/>
                      </a:lnTo>
                      <a:lnTo>
                        <a:pt x="652" y="289"/>
                      </a:lnTo>
                      <a:lnTo>
                        <a:pt x="655" y="303"/>
                      </a:lnTo>
                      <a:lnTo>
                        <a:pt x="666" y="317"/>
                      </a:lnTo>
                      <a:lnTo>
                        <a:pt x="671" y="320"/>
                      </a:lnTo>
                      <a:lnTo>
                        <a:pt x="668" y="330"/>
                      </a:lnTo>
                      <a:lnTo>
                        <a:pt x="670" y="333"/>
                      </a:lnTo>
                      <a:lnTo>
                        <a:pt x="147" y="321"/>
                      </a:lnTo>
                      <a:lnTo>
                        <a:pt x="154" y="219"/>
                      </a:lnTo>
                      <a:lnTo>
                        <a:pt x="0" y="206"/>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5" name="Freeform 30">
                  <a:extLst>
                    <a:ext uri="{FF2B5EF4-FFF2-40B4-BE49-F238E27FC236}">
                      <a16:creationId xmlns:a16="http://schemas.microsoft.com/office/drawing/2014/main" id="{C220F322-3AAC-464E-86DE-B8DB65482B2C}"/>
                    </a:ext>
                  </a:extLst>
                </p:cNvPr>
                <p:cNvSpPr>
                  <a:spLocks/>
                </p:cNvSpPr>
                <p:nvPr/>
              </p:nvSpPr>
              <p:spPr bwMode="auto">
                <a:xfrm>
                  <a:off x="3259" y="1453"/>
                  <a:ext cx="523" cy="351"/>
                </a:xfrm>
                <a:custGeom>
                  <a:avLst/>
                  <a:gdLst>
                    <a:gd name="T0" fmla="*/ 0 w 569"/>
                    <a:gd name="T1" fmla="*/ 301 h 383"/>
                    <a:gd name="T2" fmla="*/ 16 w 569"/>
                    <a:gd name="T3" fmla="*/ 99 h 383"/>
                    <a:gd name="T4" fmla="*/ 25 w 569"/>
                    <a:gd name="T5" fmla="*/ 0 h 383"/>
                    <a:gd name="T6" fmla="*/ 558 w 569"/>
                    <a:gd name="T7" fmla="*/ 23 h 383"/>
                    <a:gd name="T8" fmla="*/ 559 w 569"/>
                    <a:gd name="T9" fmla="*/ 32 h 383"/>
                    <a:gd name="T10" fmla="*/ 553 w 569"/>
                    <a:gd name="T11" fmla="*/ 42 h 383"/>
                    <a:gd name="T12" fmla="*/ 540 w 569"/>
                    <a:gd name="T13" fmla="*/ 56 h 383"/>
                    <a:gd name="T14" fmla="*/ 541 w 569"/>
                    <a:gd name="T15" fmla="*/ 65 h 383"/>
                    <a:gd name="T16" fmla="*/ 568 w 569"/>
                    <a:gd name="T17" fmla="*/ 89 h 383"/>
                    <a:gd name="T18" fmla="*/ 569 w 569"/>
                    <a:gd name="T19" fmla="*/ 276 h 383"/>
                    <a:gd name="T20" fmla="*/ 564 w 569"/>
                    <a:gd name="T21" fmla="*/ 275 h 383"/>
                    <a:gd name="T22" fmla="*/ 557 w 569"/>
                    <a:gd name="T23" fmla="*/ 276 h 383"/>
                    <a:gd name="T24" fmla="*/ 560 w 569"/>
                    <a:gd name="T25" fmla="*/ 282 h 383"/>
                    <a:gd name="T26" fmla="*/ 563 w 569"/>
                    <a:gd name="T27" fmla="*/ 288 h 383"/>
                    <a:gd name="T28" fmla="*/ 559 w 569"/>
                    <a:gd name="T29" fmla="*/ 298 h 383"/>
                    <a:gd name="T30" fmla="*/ 565 w 569"/>
                    <a:gd name="T31" fmla="*/ 304 h 383"/>
                    <a:gd name="T32" fmla="*/ 568 w 569"/>
                    <a:gd name="T33" fmla="*/ 319 h 383"/>
                    <a:gd name="T34" fmla="*/ 562 w 569"/>
                    <a:gd name="T35" fmla="*/ 324 h 383"/>
                    <a:gd name="T36" fmla="*/ 564 w 569"/>
                    <a:gd name="T37" fmla="*/ 333 h 383"/>
                    <a:gd name="T38" fmla="*/ 556 w 569"/>
                    <a:gd name="T39" fmla="*/ 351 h 383"/>
                    <a:gd name="T40" fmla="*/ 564 w 569"/>
                    <a:gd name="T41" fmla="*/ 370 h 383"/>
                    <a:gd name="T42" fmla="*/ 565 w 569"/>
                    <a:gd name="T43" fmla="*/ 381 h 383"/>
                    <a:gd name="T44" fmla="*/ 565 w 569"/>
                    <a:gd name="T45" fmla="*/ 383 h 383"/>
                    <a:gd name="T46" fmla="*/ 548 w 569"/>
                    <a:gd name="T47" fmla="*/ 372 h 383"/>
                    <a:gd name="T48" fmla="*/ 516 w 569"/>
                    <a:gd name="T49" fmla="*/ 350 h 383"/>
                    <a:gd name="T50" fmla="*/ 508 w 569"/>
                    <a:gd name="T51" fmla="*/ 348 h 383"/>
                    <a:gd name="T52" fmla="*/ 494 w 569"/>
                    <a:gd name="T53" fmla="*/ 348 h 383"/>
                    <a:gd name="T54" fmla="*/ 484 w 569"/>
                    <a:gd name="T55" fmla="*/ 356 h 383"/>
                    <a:gd name="T56" fmla="*/ 472 w 569"/>
                    <a:gd name="T57" fmla="*/ 358 h 383"/>
                    <a:gd name="T58" fmla="*/ 462 w 569"/>
                    <a:gd name="T59" fmla="*/ 356 h 383"/>
                    <a:gd name="T60" fmla="*/ 456 w 569"/>
                    <a:gd name="T61" fmla="*/ 342 h 383"/>
                    <a:gd name="T62" fmla="*/ 448 w 569"/>
                    <a:gd name="T63" fmla="*/ 337 h 383"/>
                    <a:gd name="T64" fmla="*/ 437 w 569"/>
                    <a:gd name="T65" fmla="*/ 339 h 383"/>
                    <a:gd name="T66" fmla="*/ 424 w 569"/>
                    <a:gd name="T67" fmla="*/ 339 h 383"/>
                    <a:gd name="T68" fmla="*/ 412 w 569"/>
                    <a:gd name="T69" fmla="*/ 323 h 383"/>
                    <a:gd name="T70" fmla="*/ 0 w 569"/>
                    <a:gd name="T71" fmla="*/ 30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9" h="383">
                      <a:moveTo>
                        <a:pt x="0" y="301"/>
                      </a:moveTo>
                      <a:lnTo>
                        <a:pt x="16" y="99"/>
                      </a:lnTo>
                      <a:lnTo>
                        <a:pt x="25" y="0"/>
                      </a:lnTo>
                      <a:lnTo>
                        <a:pt x="558" y="23"/>
                      </a:lnTo>
                      <a:lnTo>
                        <a:pt x="559" y="32"/>
                      </a:lnTo>
                      <a:lnTo>
                        <a:pt x="553" y="42"/>
                      </a:lnTo>
                      <a:lnTo>
                        <a:pt x="540" y="56"/>
                      </a:lnTo>
                      <a:lnTo>
                        <a:pt x="541" y="65"/>
                      </a:lnTo>
                      <a:lnTo>
                        <a:pt x="568" y="89"/>
                      </a:lnTo>
                      <a:lnTo>
                        <a:pt x="569" y="276"/>
                      </a:lnTo>
                      <a:lnTo>
                        <a:pt x="564" y="275"/>
                      </a:lnTo>
                      <a:lnTo>
                        <a:pt x="557" y="276"/>
                      </a:lnTo>
                      <a:lnTo>
                        <a:pt x="560" y="282"/>
                      </a:lnTo>
                      <a:lnTo>
                        <a:pt x="563" y="288"/>
                      </a:lnTo>
                      <a:lnTo>
                        <a:pt x="559" y="298"/>
                      </a:lnTo>
                      <a:lnTo>
                        <a:pt x="565" y="304"/>
                      </a:lnTo>
                      <a:lnTo>
                        <a:pt x="568" y="319"/>
                      </a:lnTo>
                      <a:lnTo>
                        <a:pt x="562" y="324"/>
                      </a:lnTo>
                      <a:lnTo>
                        <a:pt x="564" y="333"/>
                      </a:lnTo>
                      <a:lnTo>
                        <a:pt x="556" y="351"/>
                      </a:lnTo>
                      <a:lnTo>
                        <a:pt x="564" y="370"/>
                      </a:lnTo>
                      <a:lnTo>
                        <a:pt x="565" y="381"/>
                      </a:lnTo>
                      <a:lnTo>
                        <a:pt x="565" y="383"/>
                      </a:lnTo>
                      <a:lnTo>
                        <a:pt x="548" y="372"/>
                      </a:lnTo>
                      <a:lnTo>
                        <a:pt x="516" y="350"/>
                      </a:lnTo>
                      <a:lnTo>
                        <a:pt x="508" y="348"/>
                      </a:lnTo>
                      <a:lnTo>
                        <a:pt x="494" y="348"/>
                      </a:lnTo>
                      <a:lnTo>
                        <a:pt x="484" y="356"/>
                      </a:lnTo>
                      <a:lnTo>
                        <a:pt x="472" y="358"/>
                      </a:lnTo>
                      <a:lnTo>
                        <a:pt x="462" y="356"/>
                      </a:lnTo>
                      <a:lnTo>
                        <a:pt x="456" y="342"/>
                      </a:lnTo>
                      <a:lnTo>
                        <a:pt x="448" y="337"/>
                      </a:lnTo>
                      <a:lnTo>
                        <a:pt x="437" y="339"/>
                      </a:lnTo>
                      <a:lnTo>
                        <a:pt x="424" y="339"/>
                      </a:lnTo>
                      <a:lnTo>
                        <a:pt x="412" y="323"/>
                      </a:lnTo>
                      <a:lnTo>
                        <a:pt x="0" y="301"/>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6" name="Freeform 31">
                  <a:extLst>
                    <a:ext uri="{FF2B5EF4-FFF2-40B4-BE49-F238E27FC236}">
                      <a16:creationId xmlns:a16="http://schemas.microsoft.com/office/drawing/2014/main" id="{071F05BD-E558-4023-A8EC-5D553424BBB6}"/>
                    </a:ext>
                  </a:extLst>
                </p:cNvPr>
                <p:cNvSpPr>
                  <a:spLocks/>
                </p:cNvSpPr>
                <p:nvPr/>
              </p:nvSpPr>
              <p:spPr bwMode="auto">
                <a:xfrm>
                  <a:off x="3282" y="1168"/>
                  <a:ext cx="491" cy="306"/>
                </a:xfrm>
                <a:custGeom>
                  <a:avLst/>
                  <a:gdLst>
                    <a:gd name="T0" fmla="*/ 0 w 534"/>
                    <a:gd name="T1" fmla="*/ 310 h 333"/>
                    <a:gd name="T2" fmla="*/ 26 w 534"/>
                    <a:gd name="T3" fmla="*/ 0 h 333"/>
                    <a:gd name="T4" fmla="*/ 163 w 534"/>
                    <a:gd name="T5" fmla="*/ 10 h 333"/>
                    <a:gd name="T6" fmla="*/ 261 w 534"/>
                    <a:gd name="T7" fmla="*/ 17 h 333"/>
                    <a:gd name="T8" fmla="*/ 491 w 534"/>
                    <a:gd name="T9" fmla="*/ 23 h 333"/>
                    <a:gd name="T10" fmla="*/ 491 w 534"/>
                    <a:gd name="T11" fmla="*/ 31 h 333"/>
                    <a:gd name="T12" fmla="*/ 499 w 534"/>
                    <a:gd name="T13" fmla="*/ 55 h 333"/>
                    <a:gd name="T14" fmla="*/ 496 w 534"/>
                    <a:gd name="T15" fmla="*/ 63 h 333"/>
                    <a:gd name="T16" fmla="*/ 494 w 534"/>
                    <a:gd name="T17" fmla="*/ 79 h 333"/>
                    <a:gd name="T18" fmla="*/ 495 w 534"/>
                    <a:gd name="T19" fmla="*/ 108 h 333"/>
                    <a:gd name="T20" fmla="*/ 501 w 534"/>
                    <a:gd name="T21" fmla="*/ 141 h 333"/>
                    <a:gd name="T22" fmla="*/ 510 w 534"/>
                    <a:gd name="T23" fmla="*/ 151 h 333"/>
                    <a:gd name="T24" fmla="*/ 515 w 534"/>
                    <a:gd name="T25" fmla="*/ 180 h 333"/>
                    <a:gd name="T26" fmla="*/ 517 w 534"/>
                    <a:gd name="T27" fmla="*/ 231 h 333"/>
                    <a:gd name="T28" fmla="*/ 520 w 534"/>
                    <a:gd name="T29" fmla="*/ 242 h 333"/>
                    <a:gd name="T30" fmla="*/ 520 w 534"/>
                    <a:gd name="T31" fmla="*/ 260 h 333"/>
                    <a:gd name="T32" fmla="*/ 521 w 534"/>
                    <a:gd name="T33" fmla="*/ 268 h 333"/>
                    <a:gd name="T34" fmla="*/ 534 w 534"/>
                    <a:gd name="T35" fmla="*/ 304 h 333"/>
                    <a:gd name="T36" fmla="*/ 532 w 534"/>
                    <a:gd name="T37" fmla="*/ 318 h 333"/>
                    <a:gd name="T38" fmla="*/ 533 w 534"/>
                    <a:gd name="T39" fmla="*/ 333 h 333"/>
                    <a:gd name="T40" fmla="*/ 0 w 534"/>
                    <a:gd name="T41" fmla="*/ 31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4" h="333">
                      <a:moveTo>
                        <a:pt x="0" y="310"/>
                      </a:moveTo>
                      <a:lnTo>
                        <a:pt x="26" y="0"/>
                      </a:lnTo>
                      <a:lnTo>
                        <a:pt x="163" y="10"/>
                      </a:lnTo>
                      <a:lnTo>
                        <a:pt x="261" y="17"/>
                      </a:lnTo>
                      <a:lnTo>
                        <a:pt x="491" y="23"/>
                      </a:lnTo>
                      <a:lnTo>
                        <a:pt x="491" y="31"/>
                      </a:lnTo>
                      <a:lnTo>
                        <a:pt x="499" y="55"/>
                      </a:lnTo>
                      <a:lnTo>
                        <a:pt x="496" y="63"/>
                      </a:lnTo>
                      <a:lnTo>
                        <a:pt x="494" y="79"/>
                      </a:lnTo>
                      <a:lnTo>
                        <a:pt x="495" y="108"/>
                      </a:lnTo>
                      <a:lnTo>
                        <a:pt x="501" y="141"/>
                      </a:lnTo>
                      <a:lnTo>
                        <a:pt x="510" y="151"/>
                      </a:lnTo>
                      <a:lnTo>
                        <a:pt x="515" y="180"/>
                      </a:lnTo>
                      <a:lnTo>
                        <a:pt x="517" y="231"/>
                      </a:lnTo>
                      <a:lnTo>
                        <a:pt x="520" y="242"/>
                      </a:lnTo>
                      <a:lnTo>
                        <a:pt x="520" y="260"/>
                      </a:lnTo>
                      <a:lnTo>
                        <a:pt x="521" y="268"/>
                      </a:lnTo>
                      <a:lnTo>
                        <a:pt x="534" y="304"/>
                      </a:lnTo>
                      <a:lnTo>
                        <a:pt x="532" y="318"/>
                      </a:lnTo>
                      <a:lnTo>
                        <a:pt x="533" y="333"/>
                      </a:lnTo>
                      <a:lnTo>
                        <a:pt x="0" y="31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7" name="Freeform 32">
                  <a:extLst>
                    <a:ext uri="{FF2B5EF4-FFF2-40B4-BE49-F238E27FC236}">
                      <a16:creationId xmlns:a16="http://schemas.microsoft.com/office/drawing/2014/main" id="{BE2FAF10-8802-4F39-BE4B-084794C89704}"/>
                    </a:ext>
                  </a:extLst>
                </p:cNvPr>
                <p:cNvSpPr>
                  <a:spLocks/>
                </p:cNvSpPr>
                <p:nvPr/>
              </p:nvSpPr>
              <p:spPr bwMode="auto">
                <a:xfrm>
                  <a:off x="3733" y="1155"/>
                  <a:ext cx="490" cy="551"/>
                </a:xfrm>
                <a:custGeom>
                  <a:avLst/>
                  <a:gdLst>
                    <a:gd name="T0" fmla="*/ 52 w 534"/>
                    <a:gd name="T1" fmla="*/ 413 h 600"/>
                    <a:gd name="T2" fmla="*/ 24 w 534"/>
                    <a:gd name="T3" fmla="*/ 380 h 600"/>
                    <a:gd name="T4" fmla="*/ 43 w 534"/>
                    <a:gd name="T5" fmla="*/ 356 h 600"/>
                    <a:gd name="T6" fmla="*/ 41 w 534"/>
                    <a:gd name="T7" fmla="*/ 332 h 600"/>
                    <a:gd name="T8" fmla="*/ 30 w 534"/>
                    <a:gd name="T9" fmla="*/ 282 h 600"/>
                    <a:gd name="T10" fmla="*/ 29 w 534"/>
                    <a:gd name="T11" fmla="*/ 256 h 600"/>
                    <a:gd name="T12" fmla="*/ 24 w 534"/>
                    <a:gd name="T13" fmla="*/ 194 h 600"/>
                    <a:gd name="T14" fmla="*/ 10 w 534"/>
                    <a:gd name="T15" fmla="*/ 155 h 600"/>
                    <a:gd name="T16" fmla="*/ 3 w 534"/>
                    <a:gd name="T17" fmla="*/ 93 h 600"/>
                    <a:gd name="T18" fmla="*/ 8 w 534"/>
                    <a:gd name="T19" fmla="*/ 69 h 600"/>
                    <a:gd name="T20" fmla="*/ 0 w 534"/>
                    <a:gd name="T21" fmla="*/ 37 h 600"/>
                    <a:gd name="T22" fmla="*/ 140 w 534"/>
                    <a:gd name="T23" fmla="*/ 13 h 600"/>
                    <a:gd name="T24" fmla="*/ 152 w 534"/>
                    <a:gd name="T25" fmla="*/ 0 h 600"/>
                    <a:gd name="T26" fmla="*/ 168 w 534"/>
                    <a:gd name="T27" fmla="*/ 28 h 600"/>
                    <a:gd name="T28" fmla="*/ 171 w 534"/>
                    <a:gd name="T29" fmla="*/ 57 h 600"/>
                    <a:gd name="T30" fmla="*/ 192 w 534"/>
                    <a:gd name="T31" fmla="*/ 66 h 600"/>
                    <a:gd name="T32" fmla="*/ 207 w 534"/>
                    <a:gd name="T33" fmla="*/ 73 h 600"/>
                    <a:gd name="T34" fmla="*/ 232 w 534"/>
                    <a:gd name="T35" fmla="*/ 74 h 600"/>
                    <a:gd name="T36" fmla="*/ 235 w 534"/>
                    <a:gd name="T37" fmla="*/ 83 h 600"/>
                    <a:gd name="T38" fmla="*/ 261 w 534"/>
                    <a:gd name="T39" fmla="*/ 74 h 600"/>
                    <a:gd name="T40" fmla="*/ 310 w 534"/>
                    <a:gd name="T41" fmla="*/ 78 h 600"/>
                    <a:gd name="T42" fmla="*/ 312 w 534"/>
                    <a:gd name="T43" fmla="*/ 84 h 600"/>
                    <a:gd name="T44" fmla="*/ 321 w 534"/>
                    <a:gd name="T45" fmla="*/ 88 h 600"/>
                    <a:gd name="T46" fmla="*/ 328 w 534"/>
                    <a:gd name="T47" fmla="*/ 105 h 600"/>
                    <a:gd name="T48" fmla="*/ 343 w 534"/>
                    <a:gd name="T49" fmla="*/ 99 h 600"/>
                    <a:gd name="T50" fmla="*/ 355 w 534"/>
                    <a:gd name="T51" fmla="*/ 99 h 600"/>
                    <a:gd name="T52" fmla="*/ 376 w 534"/>
                    <a:gd name="T53" fmla="*/ 113 h 600"/>
                    <a:gd name="T54" fmla="*/ 388 w 534"/>
                    <a:gd name="T55" fmla="*/ 125 h 600"/>
                    <a:gd name="T56" fmla="*/ 409 w 534"/>
                    <a:gd name="T57" fmla="*/ 122 h 600"/>
                    <a:gd name="T58" fmla="*/ 439 w 534"/>
                    <a:gd name="T59" fmla="*/ 106 h 600"/>
                    <a:gd name="T60" fmla="*/ 486 w 534"/>
                    <a:gd name="T61" fmla="*/ 114 h 600"/>
                    <a:gd name="T62" fmla="*/ 497 w 534"/>
                    <a:gd name="T63" fmla="*/ 119 h 600"/>
                    <a:gd name="T64" fmla="*/ 517 w 534"/>
                    <a:gd name="T65" fmla="*/ 122 h 600"/>
                    <a:gd name="T66" fmla="*/ 524 w 534"/>
                    <a:gd name="T67" fmla="*/ 131 h 600"/>
                    <a:gd name="T68" fmla="*/ 488 w 534"/>
                    <a:gd name="T69" fmla="*/ 148 h 600"/>
                    <a:gd name="T70" fmla="*/ 468 w 534"/>
                    <a:gd name="T71" fmla="*/ 162 h 600"/>
                    <a:gd name="T72" fmla="*/ 438 w 534"/>
                    <a:gd name="T73" fmla="*/ 178 h 600"/>
                    <a:gd name="T74" fmla="*/ 357 w 534"/>
                    <a:gd name="T75" fmla="*/ 259 h 600"/>
                    <a:gd name="T76" fmla="*/ 346 w 534"/>
                    <a:gd name="T77" fmla="*/ 271 h 600"/>
                    <a:gd name="T78" fmla="*/ 342 w 534"/>
                    <a:gd name="T79" fmla="*/ 333 h 600"/>
                    <a:gd name="T80" fmla="*/ 315 w 534"/>
                    <a:gd name="T81" fmla="*/ 353 h 600"/>
                    <a:gd name="T82" fmla="*/ 312 w 534"/>
                    <a:gd name="T83" fmla="*/ 364 h 600"/>
                    <a:gd name="T84" fmla="*/ 317 w 534"/>
                    <a:gd name="T85" fmla="*/ 385 h 600"/>
                    <a:gd name="T86" fmla="*/ 318 w 534"/>
                    <a:gd name="T87" fmla="*/ 409 h 600"/>
                    <a:gd name="T88" fmla="*/ 317 w 534"/>
                    <a:gd name="T89" fmla="*/ 437 h 600"/>
                    <a:gd name="T90" fmla="*/ 321 w 534"/>
                    <a:gd name="T91" fmla="*/ 469 h 600"/>
                    <a:gd name="T92" fmla="*/ 331 w 534"/>
                    <a:gd name="T93" fmla="*/ 480 h 600"/>
                    <a:gd name="T94" fmla="*/ 353 w 534"/>
                    <a:gd name="T95" fmla="*/ 485 h 600"/>
                    <a:gd name="T96" fmla="*/ 359 w 534"/>
                    <a:gd name="T97" fmla="*/ 493 h 600"/>
                    <a:gd name="T98" fmla="*/ 389 w 534"/>
                    <a:gd name="T99" fmla="*/ 519 h 600"/>
                    <a:gd name="T100" fmla="*/ 432 w 534"/>
                    <a:gd name="T101" fmla="*/ 550 h 600"/>
                    <a:gd name="T102" fmla="*/ 434 w 534"/>
                    <a:gd name="T103" fmla="*/ 569 h 600"/>
                    <a:gd name="T104" fmla="*/ 53 w 534"/>
                    <a:gd name="T105"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4" h="600">
                      <a:moveTo>
                        <a:pt x="53" y="600"/>
                      </a:moveTo>
                      <a:lnTo>
                        <a:pt x="52" y="413"/>
                      </a:lnTo>
                      <a:lnTo>
                        <a:pt x="25" y="389"/>
                      </a:lnTo>
                      <a:lnTo>
                        <a:pt x="24" y="380"/>
                      </a:lnTo>
                      <a:lnTo>
                        <a:pt x="37" y="366"/>
                      </a:lnTo>
                      <a:lnTo>
                        <a:pt x="43" y="356"/>
                      </a:lnTo>
                      <a:lnTo>
                        <a:pt x="42" y="347"/>
                      </a:lnTo>
                      <a:lnTo>
                        <a:pt x="41" y="332"/>
                      </a:lnTo>
                      <a:lnTo>
                        <a:pt x="43" y="318"/>
                      </a:lnTo>
                      <a:lnTo>
                        <a:pt x="30" y="282"/>
                      </a:lnTo>
                      <a:lnTo>
                        <a:pt x="29" y="274"/>
                      </a:lnTo>
                      <a:lnTo>
                        <a:pt x="29" y="256"/>
                      </a:lnTo>
                      <a:lnTo>
                        <a:pt x="26" y="245"/>
                      </a:lnTo>
                      <a:lnTo>
                        <a:pt x="24" y="194"/>
                      </a:lnTo>
                      <a:lnTo>
                        <a:pt x="19" y="165"/>
                      </a:lnTo>
                      <a:lnTo>
                        <a:pt x="10" y="155"/>
                      </a:lnTo>
                      <a:lnTo>
                        <a:pt x="4" y="122"/>
                      </a:lnTo>
                      <a:lnTo>
                        <a:pt x="3" y="93"/>
                      </a:lnTo>
                      <a:lnTo>
                        <a:pt x="5" y="77"/>
                      </a:lnTo>
                      <a:lnTo>
                        <a:pt x="8" y="69"/>
                      </a:lnTo>
                      <a:lnTo>
                        <a:pt x="0" y="45"/>
                      </a:lnTo>
                      <a:lnTo>
                        <a:pt x="0" y="37"/>
                      </a:lnTo>
                      <a:lnTo>
                        <a:pt x="139" y="37"/>
                      </a:lnTo>
                      <a:lnTo>
                        <a:pt x="140" y="13"/>
                      </a:lnTo>
                      <a:lnTo>
                        <a:pt x="141" y="0"/>
                      </a:lnTo>
                      <a:lnTo>
                        <a:pt x="152" y="0"/>
                      </a:lnTo>
                      <a:lnTo>
                        <a:pt x="166" y="5"/>
                      </a:lnTo>
                      <a:lnTo>
                        <a:pt x="168" y="28"/>
                      </a:lnTo>
                      <a:lnTo>
                        <a:pt x="172" y="43"/>
                      </a:lnTo>
                      <a:lnTo>
                        <a:pt x="171" y="57"/>
                      </a:lnTo>
                      <a:lnTo>
                        <a:pt x="186" y="68"/>
                      </a:lnTo>
                      <a:lnTo>
                        <a:pt x="192" y="66"/>
                      </a:lnTo>
                      <a:lnTo>
                        <a:pt x="202" y="68"/>
                      </a:lnTo>
                      <a:lnTo>
                        <a:pt x="207" y="73"/>
                      </a:lnTo>
                      <a:lnTo>
                        <a:pt x="219" y="72"/>
                      </a:lnTo>
                      <a:lnTo>
                        <a:pt x="232" y="74"/>
                      </a:lnTo>
                      <a:lnTo>
                        <a:pt x="235" y="79"/>
                      </a:lnTo>
                      <a:lnTo>
                        <a:pt x="235" y="83"/>
                      </a:lnTo>
                      <a:lnTo>
                        <a:pt x="255" y="82"/>
                      </a:lnTo>
                      <a:lnTo>
                        <a:pt x="261" y="74"/>
                      </a:lnTo>
                      <a:lnTo>
                        <a:pt x="291" y="73"/>
                      </a:lnTo>
                      <a:lnTo>
                        <a:pt x="310" y="78"/>
                      </a:lnTo>
                      <a:lnTo>
                        <a:pt x="315" y="78"/>
                      </a:lnTo>
                      <a:lnTo>
                        <a:pt x="312" y="84"/>
                      </a:lnTo>
                      <a:lnTo>
                        <a:pt x="318" y="89"/>
                      </a:lnTo>
                      <a:lnTo>
                        <a:pt x="321" y="88"/>
                      </a:lnTo>
                      <a:lnTo>
                        <a:pt x="325" y="91"/>
                      </a:lnTo>
                      <a:lnTo>
                        <a:pt x="328" y="105"/>
                      </a:lnTo>
                      <a:lnTo>
                        <a:pt x="335" y="109"/>
                      </a:lnTo>
                      <a:lnTo>
                        <a:pt x="343" y="99"/>
                      </a:lnTo>
                      <a:lnTo>
                        <a:pt x="347" y="97"/>
                      </a:lnTo>
                      <a:lnTo>
                        <a:pt x="355" y="99"/>
                      </a:lnTo>
                      <a:lnTo>
                        <a:pt x="360" y="109"/>
                      </a:lnTo>
                      <a:lnTo>
                        <a:pt x="376" y="113"/>
                      </a:lnTo>
                      <a:lnTo>
                        <a:pt x="381" y="119"/>
                      </a:lnTo>
                      <a:lnTo>
                        <a:pt x="388" y="125"/>
                      </a:lnTo>
                      <a:lnTo>
                        <a:pt x="398" y="125"/>
                      </a:lnTo>
                      <a:lnTo>
                        <a:pt x="409" y="122"/>
                      </a:lnTo>
                      <a:lnTo>
                        <a:pt x="435" y="104"/>
                      </a:lnTo>
                      <a:lnTo>
                        <a:pt x="439" y="106"/>
                      </a:lnTo>
                      <a:lnTo>
                        <a:pt x="446" y="115"/>
                      </a:lnTo>
                      <a:lnTo>
                        <a:pt x="486" y="114"/>
                      </a:lnTo>
                      <a:lnTo>
                        <a:pt x="493" y="116"/>
                      </a:lnTo>
                      <a:lnTo>
                        <a:pt x="497" y="119"/>
                      </a:lnTo>
                      <a:lnTo>
                        <a:pt x="508" y="126"/>
                      </a:lnTo>
                      <a:lnTo>
                        <a:pt x="517" y="122"/>
                      </a:lnTo>
                      <a:lnTo>
                        <a:pt x="534" y="121"/>
                      </a:lnTo>
                      <a:lnTo>
                        <a:pt x="524" y="131"/>
                      </a:lnTo>
                      <a:lnTo>
                        <a:pt x="501" y="145"/>
                      </a:lnTo>
                      <a:lnTo>
                        <a:pt x="488" y="148"/>
                      </a:lnTo>
                      <a:lnTo>
                        <a:pt x="478" y="152"/>
                      </a:lnTo>
                      <a:lnTo>
                        <a:pt x="468" y="162"/>
                      </a:lnTo>
                      <a:lnTo>
                        <a:pt x="447" y="171"/>
                      </a:lnTo>
                      <a:lnTo>
                        <a:pt x="438" y="178"/>
                      </a:lnTo>
                      <a:lnTo>
                        <a:pt x="405" y="215"/>
                      </a:lnTo>
                      <a:lnTo>
                        <a:pt x="357" y="259"/>
                      </a:lnTo>
                      <a:lnTo>
                        <a:pt x="351" y="266"/>
                      </a:lnTo>
                      <a:lnTo>
                        <a:pt x="346" y="271"/>
                      </a:lnTo>
                      <a:lnTo>
                        <a:pt x="348" y="326"/>
                      </a:lnTo>
                      <a:lnTo>
                        <a:pt x="342" y="333"/>
                      </a:lnTo>
                      <a:lnTo>
                        <a:pt x="336" y="336"/>
                      </a:lnTo>
                      <a:lnTo>
                        <a:pt x="315" y="353"/>
                      </a:lnTo>
                      <a:lnTo>
                        <a:pt x="314" y="361"/>
                      </a:lnTo>
                      <a:lnTo>
                        <a:pt x="312" y="364"/>
                      </a:lnTo>
                      <a:lnTo>
                        <a:pt x="306" y="379"/>
                      </a:lnTo>
                      <a:lnTo>
                        <a:pt x="317" y="385"/>
                      </a:lnTo>
                      <a:lnTo>
                        <a:pt x="325" y="397"/>
                      </a:lnTo>
                      <a:lnTo>
                        <a:pt x="318" y="409"/>
                      </a:lnTo>
                      <a:lnTo>
                        <a:pt x="319" y="420"/>
                      </a:lnTo>
                      <a:lnTo>
                        <a:pt x="317" y="437"/>
                      </a:lnTo>
                      <a:lnTo>
                        <a:pt x="317" y="464"/>
                      </a:lnTo>
                      <a:lnTo>
                        <a:pt x="321" y="469"/>
                      </a:lnTo>
                      <a:lnTo>
                        <a:pt x="329" y="475"/>
                      </a:lnTo>
                      <a:lnTo>
                        <a:pt x="331" y="480"/>
                      </a:lnTo>
                      <a:lnTo>
                        <a:pt x="350" y="483"/>
                      </a:lnTo>
                      <a:lnTo>
                        <a:pt x="353" y="485"/>
                      </a:lnTo>
                      <a:lnTo>
                        <a:pt x="354" y="490"/>
                      </a:lnTo>
                      <a:lnTo>
                        <a:pt x="359" y="493"/>
                      </a:lnTo>
                      <a:lnTo>
                        <a:pt x="381" y="503"/>
                      </a:lnTo>
                      <a:lnTo>
                        <a:pt x="389" y="519"/>
                      </a:lnTo>
                      <a:lnTo>
                        <a:pt x="409" y="534"/>
                      </a:lnTo>
                      <a:lnTo>
                        <a:pt x="432" y="550"/>
                      </a:lnTo>
                      <a:lnTo>
                        <a:pt x="435" y="556"/>
                      </a:lnTo>
                      <a:lnTo>
                        <a:pt x="434" y="569"/>
                      </a:lnTo>
                      <a:lnTo>
                        <a:pt x="437" y="587"/>
                      </a:lnTo>
                      <a:lnTo>
                        <a:pt x="53" y="60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8" name="Freeform 33">
                  <a:extLst>
                    <a:ext uri="{FF2B5EF4-FFF2-40B4-BE49-F238E27FC236}">
                      <a16:creationId xmlns:a16="http://schemas.microsoft.com/office/drawing/2014/main" id="{C6689DEB-8F87-4425-A5ED-A7786F8F1FC2}"/>
                    </a:ext>
                  </a:extLst>
                </p:cNvPr>
                <p:cNvSpPr>
                  <a:spLocks/>
                </p:cNvSpPr>
                <p:nvPr/>
              </p:nvSpPr>
              <p:spPr bwMode="auto">
                <a:xfrm>
                  <a:off x="3770" y="1694"/>
                  <a:ext cx="448" cy="297"/>
                </a:xfrm>
                <a:custGeom>
                  <a:avLst/>
                  <a:gdLst>
                    <a:gd name="T0" fmla="*/ 397 w 488"/>
                    <a:gd name="T1" fmla="*/ 0 h 324"/>
                    <a:gd name="T2" fmla="*/ 409 w 488"/>
                    <a:gd name="T3" fmla="*/ 21 h 324"/>
                    <a:gd name="T4" fmla="*/ 403 w 488"/>
                    <a:gd name="T5" fmla="*/ 37 h 324"/>
                    <a:gd name="T6" fmla="*/ 414 w 488"/>
                    <a:gd name="T7" fmla="*/ 78 h 324"/>
                    <a:gd name="T8" fmla="*/ 445 w 488"/>
                    <a:gd name="T9" fmla="*/ 92 h 324"/>
                    <a:gd name="T10" fmla="*/ 451 w 488"/>
                    <a:gd name="T11" fmla="*/ 107 h 324"/>
                    <a:gd name="T12" fmla="*/ 468 w 488"/>
                    <a:gd name="T13" fmla="*/ 128 h 324"/>
                    <a:gd name="T14" fmla="*/ 488 w 488"/>
                    <a:gd name="T15" fmla="*/ 155 h 324"/>
                    <a:gd name="T16" fmla="*/ 482 w 488"/>
                    <a:gd name="T17" fmla="*/ 174 h 324"/>
                    <a:gd name="T18" fmla="*/ 477 w 488"/>
                    <a:gd name="T19" fmla="*/ 188 h 324"/>
                    <a:gd name="T20" fmla="*/ 451 w 488"/>
                    <a:gd name="T21" fmla="*/ 207 h 324"/>
                    <a:gd name="T22" fmla="*/ 432 w 488"/>
                    <a:gd name="T23" fmla="*/ 211 h 324"/>
                    <a:gd name="T24" fmla="*/ 419 w 488"/>
                    <a:gd name="T25" fmla="*/ 227 h 324"/>
                    <a:gd name="T26" fmla="*/ 429 w 488"/>
                    <a:gd name="T27" fmla="*/ 245 h 324"/>
                    <a:gd name="T28" fmla="*/ 429 w 488"/>
                    <a:gd name="T29" fmla="*/ 267 h 324"/>
                    <a:gd name="T30" fmla="*/ 406 w 488"/>
                    <a:gd name="T31" fmla="*/ 299 h 324"/>
                    <a:gd name="T32" fmla="*/ 403 w 488"/>
                    <a:gd name="T33" fmla="*/ 315 h 324"/>
                    <a:gd name="T34" fmla="*/ 374 w 488"/>
                    <a:gd name="T35" fmla="*/ 301 h 324"/>
                    <a:gd name="T36" fmla="*/ 61 w 488"/>
                    <a:gd name="T37" fmla="*/ 306 h 324"/>
                    <a:gd name="T38" fmla="*/ 61 w 488"/>
                    <a:gd name="T39" fmla="*/ 287 h 324"/>
                    <a:gd name="T40" fmla="*/ 53 w 488"/>
                    <a:gd name="T41" fmla="*/ 271 h 324"/>
                    <a:gd name="T42" fmla="*/ 56 w 488"/>
                    <a:gd name="T43" fmla="*/ 255 h 324"/>
                    <a:gd name="T44" fmla="*/ 48 w 488"/>
                    <a:gd name="T45" fmla="*/ 233 h 324"/>
                    <a:gd name="T46" fmla="*/ 48 w 488"/>
                    <a:gd name="T47" fmla="*/ 216 h 324"/>
                    <a:gd name="T48" fmla="*/ 34 w 488"/>
                    <a:gd name="T49" fmla="*/ 199 h 324"/>
                    <a:gd name="T50" fmla="*/ 29 w 488"/>
                    <a:gd name="T51" fmla="*/ 183 h 324"/>
                    <a:gd name="T52" fmla="*/ 16 w 488"/>
                    <a:gd name="T53" fmla="*/ 159 h 324"/>
                    <a:gd name="T54" fmla="*/ 21 w 488"/>
                    <a:gd name="T55" fmla="*/ 138 h 324"/>
                    <a:gd name="T56" fmla="*/ 9 w 488"/>
                    <a:gd name="T57" fmla="*/ 120 h 324"/>
                    <a:gd name="T58" fmla="*/ 8 w 488"/>
                    <a:gd name="T59" fmla="*/ 107 h 324"/>
                    <a:gd name="T60" fmla="*/ 8 w 488"/>
                    <a:gd name="T61" fmla="*/ 70 h 324"/>
                    <a:gd name="T62" fmla="*/ 12 w 488"/>
                    <a:gd name="T63" fmla="*/ 56 h 324"/>
                    <a:gd name="T64" fmla="*/ 3 w 488"/>
                    <a:gd name="T65" fmla="*/ 35 h 324"/>
                    <a:gd name="T66" fmla="*/ 4 w 488"/>
                    <a:gd name="T67" fmla="*/ 19 h 324"/>
                    <a:gd name="T68" fmla="*/ 8 w 488"/>
                    <a:gd name="T69" fmla="*/ 1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8" h="324">
                      <a:moveTo>
                        <a:pt x="13" y="13"/>
                      </a:moveTo>
                      <a:lnTo>
                        <a:pt x="397" y="0"/>
                      </a:lnTo>
                      <a:lnTo>
                        <a:pt x="401" y="13"/>
                      </a:lnTo>
                      <a:lnTo>
                        <a:pt x="409" y="21"/>
                      </a:lnTo>
                      <a:lnTo>
                        <a:pt x="409" y="27"/>
                      </a:lnTo>
                      <a:lnTo>
                        <a:pt x="403" y="37"/>
                      </a:lnTo>
                      <a:lnTo>
                        <a:pt x="407" y="50"/>
                      </a:lnTo>
                      <a:lnTo>
                        <a:pt x="414" y="78"/>
                      </a:lnTo>
                      <a:lnTo>
                        <a:pt x="437" y="86"/>
                      </a:lnTo>
                      <a:lnTo>
                        <a:pt x="445" y="92"/>
                      </a:lnTo>
                      <a:lnTo>
                        <a:pt x="448" y="102"/>
                      </a:lnTo>
                      <a:lnTo>
                        <a:pt x="451" y="107"/>
                      </a:lnTo>
                      <a:lnTo>
                        <a:pt x="466" y="118"/>
                      </a:lnTo>
                      <a:lnTo>
                        <a:pt x="468" y="128"/>
                      </a:lnTo>
                      <a:lnTo>
                        <a:pt x="483" y="137"/>
                      </a:lnTo>
                      <a:lnTo>
                        <a:pt x="488" y="155"/>
                      </a:lnTo>
                      <a:lnTo>
                        <a:pt x="487" y="163"/>
                      </a:lnTo>
                      <a:lnTo>
                        <a:pt x="482" y="174"/>
                      </a:lnTo>
                      <a:lnTo>
                        <a:pt x="477" y="179"/>
                      </a:lnTo>
                      <a:lnTo>
                        <a:pt x="477" y="188"/>
                      </a:lnTo>
                      <a:lnTo>
                        <a:pt x="463" y="203"/>
                      </a:lnTo>
                      <a:lnTo>
                        <a:pt x="451" y="207"/>
                      </a:lnTo>
                      <a:lnTo>
                        <a:pt x="447" y="211"/>
                      </a:lnTo>
                      <a:lnTo>
                        <a:pt x="432" y="211"/>
                      </a:lnTo>
                      <a:lnTo>
                        <a:pt x="424" y="216"/>
                      </a:lnTo>
                      <a:lnTo>
                        <a:pt x="419" y="227"/>
                      </a:lnTo>
                      <a:lnTo>
                        <a:pt x="420" y="235"/>
                      </a:lnTo>
                      <a:lnTo>
                        <a:pt x="429" y="245"/>
                      </a:lnTo>
                      <a:lnTo>
                        <a:pt x="432" y="251"/>
                      </a:lnTo>
                      <a:lnTo>
                        <a:pt x="429" y="267"/>
                      </a:lnTo>
                      <a:lnTo>
                        <a:pt x="418" y="291"/>
                      </a:lnTo>
                      <a:lnTo>
                        <a:pt x="406" y="299"/>
                      </a:lnTo>
                      <a:lnTo>
                        <a:pt x="402" y="307"/>
                      </a:lnTo>
                      <a:lnTo>
                        <a:pt x="403" y="315"/>
                      </a:lnTo>
                      <a:lnTo>
                        <a:pt x="397" y="324"/>
                      </a:lnTo>
                      <a:lnTo>
                        <a:pt x="374" y="301"/>
                      </a:lnTo>
                      <a:lnTo>
                        <a:pt x="65" y="311"/>
                      </a:lnTo>
                      <a:lnTo>
                        <a:pt x="61" y="306"/>
                      </a:lnTo>
                      <a:lnTo>
                        <a:pt x="59" y="295"/>
                      </a:lnTo>
                      <a:lnTo>
                        <a:pt x="61" y="287"/>
                      </a:lnTo>
                      <a:lnTo>
                        <a:pt x="56" y="279"/>
                      </a:lnTo>
                      <a:lnTo>
                        <a:pt x="53" y="271"/>
                      </a:lnTo>
                      <a:lnTo>
                        <a:pt x="59" y="263"/>
                      </a:lnTo>
                      <a:lnTo>
                        <a:pt x="56" y="255"/>
                      </a:lnTo>
                      <a:lnTo>
                        <a:pt x="45" y="249"/>
                      </a:lnTo>
                      <a:lnTo>
                        <a:pt x="48" y="233"/>
                      </a:lnTo>
                      <a:lnTo>
                        <a:pt x="51" y="224"/>
                      </a:lnTo>
                      <a:lnTo>
                        <a:pt x="48" y="216"/>
                      </a:lnTo>
                      <a:lnTo>
                        <a:pt x="37" y="208"/>
                      </a:lnTo>
                      <a:lnTo>
                        <a:pt x="34" y="199"/>
                      </a:lnTo>
                      <a:lnTo>
                        <a:pt x="37" y="191"/>
                      </a:lnTo>
                      <a:lnTo>
                        <a:pt x="29" y="183"/>
                      </a:lnTo>
                      <a:lnTo>
                        <a:pt x="24" y="167"/>
                      </a:lnTo>
                      <a:lnTo>
                        <a:pt x="16" y="159"/>
                      </a:lnTo>
                      <a:lnTo>
                        <a:pt x="21" y="145"/>
                      </a:lnTo>
                      <a:lnTo>
                        <a:pt x="21" y="138"/>
                      </a:lnTo>
                      <a:lnTo>
                        <a:pt x="9" y="131"/>
                      </a:lnTo>
                      <a:lnTo>
                        <a:pt x="9" y="120"/>
                      </a:lnTo>
                      <a:lnTo>
                        <a:pt x="9" y="118"/>
                      </a:lnTo>
                      <a:lnTo>
                        <a:pt x="8" y="107"/>
                      </a:lnTo>
                      <a:lnTo>
                        <a:pt x="0" y="88"/>
                      </a:lnTo>
                      <a:lnTo>
                        <a:pt x="8" y="70"/>
                      </a:lnTo>
                      <a:lnTo>
                        <a:pt x="6" y="61"/>
                      </a:lnTo>
                      <a:lnTo>
                        <a:pt x="12" y="56"/>
                      </a:lnTo>
                      <a:lnTo>
                        <a:pt x="9" y="41"/>
                      </a:lnTo>
                      <a:lnTo>
                        <a:pt x="3" y="35"/>
                      </a:lnTo>
                      <a:lnTo>
                        <a:pt x="7" y="25"/>
                      </a:lnTo>
                      <a:lnTo>
                        <a:pt x="4" y="19"/>
                      </a:lnTo>
                      <a:lnTo>
                        <a:pt x="1" y="13"/>
                      </a:lnTo>
                      <a:lnTo>
                        <a:pt x="8" y="12"/>
                      </a:lnTo>
                      <a:lnTo>
                        <a:pt x="13" y="13"/>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29" name="Freeform 34">
                  <a:extLst>
                    <a:ext uri="{FF2B5EF4-FFF2-40B4-BE49-F238E27FC236}">
                      <a16:creationId xmlns:a16="http://schemas.microsoft.com/office/drawing/2014/main" id="{61E09E86-D94A-4E33-B419-87794A8C44B5}"/>
                    </a:ext>
                  </a:extLst>
                </p:cNvPr>
                <p:cNvSpPr>
                  <a:spLocks/>
                </p:cNvSpPr>
                <p:nvPr/>
              </p:nvSpPr>
              <p:spPr bwMode="auto">
                <a:xfrm>
                  <a:off x="3829" y="1971"/>
                  <a:ext cx="499" cy="431"/>
                </a:xfrm>
                <a:custGeom>
                  <a:avLst/>
                  <a:gdLst>
                    <a:gd name="T0" fmla="*/ 456 w 543"/>
                    <a:gd name="T1" fmla="*/ 416 h 470"/>
                    <a:gd name="T2" fmla="*/ 463 w 543"/>
                    <a:gd name="T3" fmla="*/ 426 h 470"/>
                    <a:gd name="T4" fmla="*/ 464 w 543"/>
                    <a:gd name="T5" fmla="*/ 442 h 470"/>
                    <a:gd name="T6" fmla="*/ 444 w 543"/>
                    <a:gd name="T7" fmla="*/ 462 h 470"/>
                    <a:gd name="T8" fmla="*/ 498 w 543"/>
                    <a:gd name="T9" fmla="*/ 466 h 470"/>
                    <a:gd name="T10" fmla="*/ 500 w 543"/>
                    <a:gd name="T11" fmla="*/ 445 h 470"/>
                    <a:gd name="T12" fmla="*/ 511 w 543"/>
                    <a:gd name="T13" fmla="*/ 413 h 470"/>
                    <a:gd name="T14" fmla="*/ 526 w 543"/>
                    <a:gd name="T15" fmla="*/ 401 h 470"/>
                    <a:gd name="T16" fmla="*/ 535 w 543"/>
                    <a:gd name="T17" fmla="*/ 400 h 470"/>
                    <a:gd name="T18" fmla="*/ 540 w 543"/>
                    <a:gd name="T19" fmla="*/ 365 h 470"/>
                    <a:gd name="T20" fmla="*/ 533 w 543"/>
                    <a:gd name="T21" fmla="*/ 360 h 470"/>
                    <a:gd name="T22" fmla="*/ 530 w 543"/>
                    <a:gd name="T23" fmla="*/ 356 h 470"/>
                    <a:gd name="T24" fmla="*/ 524 w 543"/>
                    <a:gd name="T25" fmla="*/ 360 h 470"/>
                    <a:gd name="T26" fmla="*/ 504 w 543"/>
                    <a:gd name="T27" fmla="*/ 334 h 470"/>
                    <a:gd name="T28" fmla="*/ 511 w 543"/>
                    <a:gd name="T29" fmla="*/ 323 h 470"/>
                    <a:gd name="T30" fmla="*/ 504 w 543"/>
                    <a:gd name="T31" fmla="*/ 310 h 470"/>
                    <a:gd name="T32" fmla="*/ 476 w 543"/>
                    <a:gd name="T33" fmla="*/ 273 h 470"/>
                    <a:gd name="T34" fmla="*/ 443 w 543"/>
                    <a:gd name="T35" fmla="*/ 254 h 470"/>
                    <a:gd name="T36" fmla="*/ 424 w 543"/>
                    <a:gd name="T37" fmla="*/ 230 h 470"/>
                    <a:gd name="T38" fmla="*/ 441 w 543"/>
                    <a:gd name="T39" fmla="*/ 206 h 470"/>
                    <a:gd name="T40" fmla="*/ 444 w 543"/>
                    <a:gd name="T41" fmla="*/ 179 h 470"/>
                    <a:gd name="T42" fmla="*/ 421 w 543"/>
                    <a:gd name="T43" fmla="*/ 163 h 470"/>
                    <a:gd name="T44" fmla="*/ 408 w 543"/>
                    <a:gd name="T45" fmla="*/ 174 h 470"/>
                    <a:gd name="T46" fmla="*/ 390 w 543"/>
                    <a:gd name="T47" fmla="*/ 134 h 470"/>
                    <a:gd name="T48" fmla="*/ 360 w 543"/>
                    <a:gd name="T49" fmla="*/ 109 h 470"/>
                    <a:gd name="T50" fmla="*/ 336 w 543"/>
                    <a:gd name="T51" fmla="*/ 74 h 470"/>
                    <a:gd name="T52" fmla="*/ 328 w 543"/>
                    <a:gd name="T53" fmla="*/ 38 h 470"/>
                    <a:gd name="T54" fmla="*/ 332 w 543"/>
                    <a:gd name="T55" fmla="*/ 23 h 470"/>
                    <a:gd name="T56" fmla="*/ 0 w 543"/>
                    <a:gd name="T57" fmla="*/ 10 h 470"/>
                    <a:gd name="T58" fmla="*/ 13 w 543"/>
                    <a:gd name="T59" fmla="*/ 26 h 470"/>
                    <a:gd name="T60" fmla="*/ 27 w 543"/>
                    <a:gd name="T61" fmla="*/ 54 h 470"/>
                    <a:gd name="T62" fmla="*/ 29 w 543"/>
                    <a:gd name="T63" fmla="*/ 67 h 470"/>
                    <a:gd name="T64" fmla="*/ 64 w 543"/>
                    <a:gd name="T65" fmla="*/ 96 h 470"/>
                    <a:gd name="T66" fmla="*/ 52 w 543"/>
                    <a:gd name="T67" fmla="*/ 122 h 470"/>
                    <a:gd name="T68" fmla="*/ 66 w 543"/>
                    <a:gd name="T69" fmla="*/ 132 h 470"/>
                    <a:gd name="T70" fmla="*/ 79 w 543"/>
                    <a:gd name="T71" fmla="*/ 155 h 470"/>
                    <a:gd name="T72" fmla="*/ 90 w 543"/>
                    <a:gd name="T73" fmla="*/ 159 h 470"/>
                    <a:gd name="T74" fmla="*/ 93 w 543"/>
                    <a:gd name="T75" fmla="*/ 43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0">
                      <a:moveTo>
                        <a:pt x="93" y="432"/>
                      </a:moveTo>
                      <a:lnTo>
                        <a:pt x="456" y="416"/>
                      </a:lnTo>
                      <a:lnTo>
                        <a:pt x="455" y="420"/>
                      </a:lnTo>
                      <a:lnTo>
                        <a:pt x="463" y="426"/>
                      </a:lnTo>
                      <a:lnTo>
                        <a:pt x="466" y="434"/>
                      </a:lnTo>
                      <a:lnTo>
                        <a:pt x="464" y="442"/>
                      </a:lnTo>
                      <a:lnTo>
                        <a:pt x="453" y="451"/>
                      </a:lnTo>
                      <a:lnTo>
                        <a:pt x="444" y="462"/>
                      </a:lnTo>
                      <a:lnTo>
                        <a:pt x="443" y="470"/>
                      </a:lnTo>
                      <a:lnTo>
                        <a:pt x="498" y="466"/>
                      </a:lnTo>
                      <a:lnTo>
                        <a:pt x="502" y="450"/>
                      </a:lnTo>
                      <a:lnTo>
                        <a:pt x="500" y="445"/>
                      </a:lnTo>
                      <a:lnTo>
                        <a:pt x="504" y="427"/>
                      </a:lnTo>
                      <a:lnTo>
                        <a:pt x="511" y="413"/>
                      </a:lnTo>
                      <a:lnTo>
                        <a:pt x="516" y="406"/>
                      </a:lnTo>
                      <a:lnTo>
                        <a:pt x="526" y="401"/>
                      </a:lnTo>
                      <a:lnTo>
                        <a:pt x="530" y="403"/>
                      </a:lnTo>
                      <a:lnTo>
                        <a:pt x="535" y="400"/>
                      </a:lnTo>
                      <a:lnTo>
                        <a:pt x="543" y="374"/>
                      </a:lnTo>
                      <a:lnTo>
                        <a:pt x="540" y="365"/>
                      </a:lnTo>
                      <a:lnTo>
                        <a:pt x="536" y="362"/>
                      </a:lnTo>
                      <a:lnTo>
                        <a:pt x="533" y="360"/>
                      </a:lnTo>
                      <a:lnTo>
                        <a:pt x="532" y="358"/>
                      </a:lnTo>
                      <a:lnTo>
                        <a:pt x="530" y="356"/>
                      </a:lnTo>
                      <a:lnTo>
                        <a:pt x="524" y="356"/>
                      </a:lnTo>
                      <a:lnTo>
                        <a:pt x="524" y="360"/>
                      </a:lnTo>
                      <a:lnTo>
                        <a:pt x="520" y="362"/>
                      </a:lnTo>
                      <a:lnTo>
                        <a:pt x="504" y="334"/>
                      </a:lnTo>
                      <a:lnTo>
                        <a:pt x="504" y="330"/>
                      </a:lnTo>
                      <a:lnTo>
                        <a:pt x="511" y="323"/>
                      </a:lnTo>
                      <a:lnTo>
                        <a:pt x="511" y="319"/>
                      </a:lnTo>
                      <a:lnTo>
                        <a:pt x="504" y="310"/>
                      </a:lnTo>
                      <a:lnTo>
                        <a:pt x="500" y="293"/>
                      </a:lnTo>
                      <a:lnTo>
                        <a:pt x="476" y="273"/>
                      </a:lnTo>
                      <a:lnTo>
                        <a:pt x="465" y="269"/>
                      </a:lnTo>
                      <a:lnTo>
                        <a:pt x="443" y="254"/>
                      </a:lnTo>
                      <a:lnTo>
                        <a:pt x="429" y="242"/>
                      </a:lnTo>
                      <a:lnTo>
                        <a:pt x="424" y="230"/>
                      </a:lnTo>
                      <a:lnTo>
                        <a:pt x="427" y="223"/>
                      </a:lnTo>
                      <a:lnTo>
                        <a:pt x="441" y="206"/>
                      </a:lnTo>
                      <a:lnTo>
                        <a:pt x="440" y="192"/>
                      </a:lnTo>
                      <a:lnTo>
                        <a:pt x="444" y="179"/>
                      </a:lnTo>
                      <a:lnTo>
                        <a:pt x="440" y="173"/>
                      </a:lnTo>
                      <a:lnTo>
                        <a:pt x="421" y="163"/>
                      </a:lnTo>
                      <a:lnTo>
                        <a:pt x="415" y="166"/>
                      </a:lnTo>
                      <a:lnTo>
                        <a:pt x="408" y="174"/>
                      </a:lnTo>
                      <a:lnTo>
                        <a:pt x="404" y="170"/>
                      </a:lnTo>
                      <a:lnTo>
                        <a:pt x="390" y="134"/>
                      </a:lnTo>
                      <a:lnTo>
                        <a:pt x="384" y="127"/>
                      </a:lnTo>
                      <a:lnTo>
                        <a:pt x="360" y="109"/>
                      </a:lnTo>
                      <a:lnTo>
                        <a:pt x="337" y="82"/>
                      </a:lnTo>
                      <a:lnTo>
                        <a:pt x="336" y="74"/>
                      </a:lnTo>
                      <a:lnTo>
                        <a:pt x="330" y="58"/>
                      </a:lnTo>
                      <a:lnTo>
                        <a:pt x="328" y="38"/>
                      </a:lnTo>
                      <a:lnTo>
                        <a:pt x="332" y="27"/>
                      </a:lnTo>
                      <a:lnTo>
                        <a:pt x="332" y="23"/>
                      </a:lnTo>
                      <a:lnTo>
                        <a:pt x="309" y="0"/>
                      </a:lnTo>
                      <a:lnTo>
                        <a:pt x="0" y="10"/>
                      </a:lnTo>
                      <a:lnTo>
                        <a:pt x="5" y="18"/>
                      </a:lnTo>
                      <a:lnTo>
                        <a:pt x="13" y="26"/>
                      </a:lnTo>
                      <a:lnTo>
                        <a:pt x="16" y="40"/>
                      </a:lnTo>
                      <a:lnTo>
                        <a:pt x="27" y="54"/>
                      </a:lnTo>
                      <a:lnTo>
                        <a:pt x="32" y="57"/>
                      </a:lnTo>
                      <a:lnTo>
                        <a:pt x="29" y="67"/>
                      </a:lnTo>
                      <a:lnTo>
                        <a:pt x="31" y="70"/>
                      </a:lnTo>
                      <a:lnTo>
                        <a:pt x="64" y="96"/>
                      </a:lnTo>
                      <a:lnTo>
                        <a:pt x="54" y="109"/>
                      </a:lnTo>
                      <a:lnTo>
                        <a:pt x="52" y="122"/>
                      </a:lnTo>
                      <a:lnTo>
                        <a:pt x="57" y="128"/>
                      </a:lnTo>
                      <a:lnTo>
                        <a:pt x="66" y="132"/>
                      </a:lnTo>
                      <a:lnTo>
                        <a:pt x="71" y="150"/>
                      </a:lnTo>
                      <a:lnTo>
                        <a:pt x="79" y="155"/>
                      </a:lnTo>
                      <a:lnTo>
                        <a:pt x="87" y="157"/>
                      </a:lnTo>
                      <a:lnTo>
                        <a:pt x="90" y="159"/>
                      </a:lnTo>
                      <a:lnTo>
                        <a:pt x="92" y="381"/>
                      </a:lnTo>
                      <a:lnTo>
                        <a:pt x="93" y="432"/>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0" name="Freeform 35">
                  <a:extLst>
                    <a:ext uri="{FF2B5EF4-FFF2-40B4-BE49-F238E27FC236}">
                      <a16:creationId xmlns:a16="http://schemas.microsoft.com/office/drawing/2014/main" id="{0542BE4E-D6B3-4357-AC09-05ACADA57D29}"/>
                    </a:ext>
                  </a:extLst>
                </p:cNvPr>
                <p:cNvSpPr>
                  <a:spLocks/>
                </p:cNvSpPr>
                <p:nvPr/>
              </p:nvSpPr>
              <p:spPr bwMode="auto">
                <a:xfrm>
                  <a:off x="3915" y="2352"/>
                  <a:ext cx="371" cy="341"/>
                </a:xfrm>
                <a:custGeom>
                  <a:avLst/>
                  <a:gdLst>
                    <a:gd name="T0" fmla="*/ 0 w 405"/>
                    <a:gd name="T1" fmla="*/ 16 h 371"/>
                    <a:gd name="T2" fmla="*/ 363 w 405"/>
                    <a:gd name="T3" fmla="*/ 0 h 371"/>
                    <a:gd name="T4" fmla="*/ 362 w 405"/>
                    <a:gd name="T5" fmla="*/ 4 h 371"/>
                    <a:gd name="T6" fmla="*/ 370 w 405"/>
                    <a:gd name="T7" fmla="*/ 10 h 371"/>
                    <a:gd name="T8" fmla="*/ 373 w 405"/>
                    <a:gd name="T9" fmla="*/ 18 h 371"/>
                    <a:gd name="T10" fmla="*/ 371 w 405"/>
                    <a:gd name="T11" fmla="*/ 26 h 371"/>
                    <a:gd name="T12" fmla="*/ 360 w 405"/>
                    <a:gd name="T13" fmla="*/ 35 h 371"/>
                    <a:gd name="T14" fmla="*/ 351 w 405"/>
                    <a:gd name="T15" fmla="*/ 46 h 371"/>
                    <a:gd name="T16" fmla="*/ 350 w 405"/>
                    <a:gd name="T17" fmla="*/ 54 h 371"/>
                    <a:gd name="T18" fmla="*/ 405 w 405"/>
                    <a:gd name="T19" fmla="*/ 50 h 371"/>
                    <a:gd name="T20" fmla="*/ 402 w 405"/>
                    <a:gd name="T21" fmla="*/ 54 h 371"/>
                    <a:gd name="T22" fmla="*/ 403 w 405"/>
                    <a:gd name="T23" fmla="*/ 59 h 371"/>
                    <a:gd name="T24" fmla="*/ 400 w 405"/>
                    <a:gd name="T25" fmla="*/ 68 h 371"/>
                    <a:gd name="T26" fmla="*/ 390 w 405"/>
                    <a:gd name="T27" fmla="*/ 79 h 371"/>
                    <a:gd name="T28" fmla="*/ 386 w 405"/>
                    <a:gd name="T29" fmla="*/ 100 h 371"/>
                    <a:gd name="T30" fmla="*/ 375 w 405"/>
                    <a:gd name="T31" fmla="*/ 114 h 371"/>
                    <a:gd name="T32" fmla="*/ 377 w 405"/>
                    <a:gd name="T33" fmla="*/ 128 h 371"/>
                    <a:gd name="T34" fmla="*/ 376 w 405"/>
                    <a:gd name="T35" fmla="*/ 146 h 371"/>
                    <a:gd name="T36" fmla="*/ 373 w 405"/>
                    <a:gd name="T37" fmla="*/ 147 h 371"/>
                    <a:gd name="T38" fmla="*/ 364 w 405"/>
                    <a:gd name="T39" fmla="*/ 155 h 371"/>
                    <a:gd name="T40" fmla="*/ 363 w 405"/>
                    <a:gd name="T41" fmla="*/ 161 h 371"/>
                    <a:gd name="T42" fmla="*/ 347 w 405"/>
                    <a:gd name="T43" fmla="*/ 175 h 371"/>
                    <a:gd name="T44" fmla="*/ 342 w 405"/>
                    <a:gd name="T45" fmla="*/ 190 h 371"/>
                    <a:gd name="T46" fmla="*/ 343 w 405"/>
                    <a:gd name="T47" fmla="*/ 207 h 371"/>
                    <a:gd name="T48" fmla="*/ 341 w 405"/>
                    <a:gd name="T49" fmla="*/ 216 h 371"/>
                    <a:gd name="T50" fmla="*/ 326 w 405"/>
                    <a:gd name="T51" fmla="*/ 226 h 371"/>
                    <a:gd name="T52" fmla="*/ 315 w 405"/>
                    <a:gd name="T53" fmla="*/ 240 h 371"/>
                    <a:gd name="T54" fmla="*/ 311 w 405"/>
                    <a:gd name="T55" fmla="*/ 245 h 371"/>
                    <a:gd name="T56" fmla="*/ 311 w 405"/>
                    <a:gd name="T57" fmla="*/ 258 h 371"/>
                    <a:gd name="T58" fmla="*/ 304 w 405"/>
                    <a:gd name="T59" fmla="*/ 267 h 371"/>
                    <a:gd name="T60" fmla="*/ 304 w 405"/>
                    <a:gd name="T61" fmla="*/ 278 h 371"/>
                    <a:gd name="T62" fmla="*/ 299 w 405"/>
                    <a:gd name="T63" fmla="*/ 291 h 371"/>
                    <a:gd name="T64" fmla="*/ 291 w 405"/>
                    <a:gd name="T65" fmla="*/ 305 h 371"/>
                    <a:gd name="T66" fmla="*/ 295 w 405"/>
                    <a:gd name="T67" fmla="*/ 320 h 371"/>
                    <a:gd name="T68" fmla="*/ 302 w 405"/>
                    <a:gd name="T69" fmla="*/ 329 h 371"/>
                    <a:gd name="T70" fmla="*/ 303 w 405"/>
                    <a:gd name="T71" fmla="*/ 339 h 371"/>
                    <a:gd name="T72" fmla="*/ 306 w 405"/>
                    <a:gd name="T73" fmla="*/ 342 h 371"/>
                    <a:gd name="T74" fmla="*/ 306 w 405"/>
                    <a:gd name="T75" fmla="*/ 346 h 371"/>
                    <a:gd name="T76" fmla="*/ 301 w 405"/>
                    <a:gd name="T77" fmla="*/ 350 h 371"/>
                    <a:gd name="T78" fmla="*/ 299 w 405"/>
                    <a:gd name="T79" fmla="*/ 358 h 371"/>
                    <a:gd name="T80" fmla="*/ 299 w 405"/>
                    <a:gd name="T81" fmla="*/ 364 h 371"/>
                    <a:gd name="T82" fmla="*/ 53 w 405"/>
                    <a:gd name="T83" fmla="*/ 371 h 371"/>
                    <a:gd name="T84" fmla="*/ 53 w 405"/>
                    <a:gd name="T85" fmla="*/ 317 h 371"/>
                    <a:gd name="T86" fmla="*/ 40 w 405"/>
                    <a:gd name="T87" fmla="*/ 314 h 371"/>
                    <a:gd name="T88" fmla="*/ 29 w 405"/>
                    <a:gd name="T89" fmla="*/ 318 h 371"/>
                    <a:gd name="T90" fmla="*/ 25 w 405"/>
                    <a:gd name="T91" fmla="*/ 318 h 371"/>
                    <a:gd name="T92" fmla="*/ 12 w 405"/>
                    <a:gd name="T93" fmla="*/ 308 h 371"/>
                    <a:gd name="T94" fmla="*/ 15 w 405"/>
                    <a:gd name="T95" fmla="*/ 128 h 371"/>
                    <a:gd name="T96" fmla="*/ 0 w 405"/>
                    <a:gd name="T97" fmla="*/ 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5" h="371">
                      <a:moveTo>
                        <a:pt x="0" y="16"/>
                      </a:moveTo>
                      <a:lnTo>
                        <a:pt x="363" y="0"/>
                      </a:lnTo>
                      <a:lnTo>
                        <a:pt x="362" y="4"/>
                      </a:lnTo>
                      <a:lnTo>
                        <a:pt x="370" y="10"/>
                      </a:lnTo>
                      <a:lnTo>
                        <a:pt x="373" y="18"/>
                      </a:lnTo>
                      <a:lnTo>
                        <a:pt x="371" y="26"/>
                      </a:lnTo>
                      <a:lnTo>
                        <a:pt x="360" y="35"/>
                      </a:lnTo>
                      <a:lnTo>
                        <a:pt x="351" y="46"/>
                      </a:lnTo>
                      <a:lnTo>
                        <a:pt x="350" y="54"/>
                      </a:lnTo>
                      <a:lnTo>
                        <a:pt x="405" y="50"/>
                      </a:lnTo>
                      <a:lnTo>
                        <a:pt x="402" y="54"/>
                      </a:lnTo>
                      <a:lnTo>
                        <a:pt x="403" y="59"/>
                      </a:lnTo>
                      <a:lnTo>
                        <a:pt x="400" y="68"/>
                      </a:lnTo>
                      <a:lnTo>
                        <a:pt x="390" y="79"/>
                      </a:lnTo>
                      <a:lnTo>
                        <a:pt x="386" y="100"/>
                      </a:lnTo>
                      <a:lnTo>
                        <a:pt x="375" y="114"/>
                      </a:lnTo>
                      <a:lnTo>
                        <a:pt x="377" y="128"/>
                      </a:lnTo>
                      <a:lnTo>
                        <a:pt x="376" y="146"/>
                      </a:lnTo>
                      <a:lnTo>
                        <a:pt x="373" y="147"/>
                      </a:lnTo>
                      <a:lnTo>
                        <a:pt x="364" y="155"/>
                      </a:lnTo>
                      <a:lnTo>
                        <a:pt x="363" y="161"/>
                      </a:lnTo>
                      <a:lnTo>
                        <a:pt x="347" y="175"/>
                      </a:lnTo>
                      <a:lnTo>
                        <a:pt x="342" y="190"/>
                      </a:lnTo>
                      <a:lnTo>
                        <a:pt x="343" y="207"/>
                      </a:lnTo>
                      <a:lnTo>
                        <a:pt x="341" y="216"/>
                      </a:lnTo>
                      <a:lnTo>
                        <a:pt x="326" y="226"/>
                      </a:lnTo>
                      <a:lnTo>
                        <a:pt x="315" y="240"/>
                      </a:lnTo>
                      <a:lnTo>
                        <a:pt x="311" y="245"/>
                      </a:lnTo>
                      <a:lnTo>
                        <a:pt x="311" y="258"/>
                      </a:lnTo>
                      <a:lnTo>
                        <a:pt x="304" y="267"/>
                      </a:lnTo>
                      <a:lnTo>
                        <a:pt x="304" y="278"/>
                      </a:lnTo>
                      <a:lnTo>
                        <a:pt x="299" y="291"/>
                      </a:lnTo>
                      <a:lnTo>
                        <a:pt x="291" y="305"/>
                      </a:lnTo>
                      <a:lnTo>
                        <a:pt x="295" y="320"/>
                      </a:lnTo>
                      <a:lnTo>
                        <a:pt x="302" y="329"/>
                      </a:lnTo>
                      <a:lnTo>
                        <a:pt x="303" y="339"/>
                      </a:lnTo>
                      <a:lnTo>
                        <a:pt x="306" y="342"/>
                      </a:lnTo>
                      <a:lnTo>
                        <a:pt x="306" y="346"/>
                      </a:lnTo>
                      <a:lnTo>
                        <a:pt x="301" y="350"/>
                      </a:lnTo>
                      <a:lnTo>
                        <a:pt x="299" y="358"/>
                      </a:lnTo>
                      <a:lnTo>
                        <a:pt x="299" y="364"/>
                      </a:lnTo>
                      <a:lnTo>
                        <a:pt x="53" y="371"/>
                      </a:lnTo>
                      <a:lnTo>
                        <a:pt x="53" y="317"/>
                      </a:lnTo>
                      <a:lnTo>
                        <a:pt x="40" y="314"/>
                      </a:lnTo>
                      <a:lnTo>
                        <a:pt x="29" y="318"/>
                      </a:lnTo>
                      <a:lnTo>
                        <a:pt x="25" y="318"/>
                      </a:lnTo>
                      <a:lnTo>
                        <a:pt x="12" y="308"/>
                      </a:lnTo>
                      <a:lnTo>
                        <a:pt x="15" y="128"/>
                      </a:lnTo>
                      <a:lnTo>
                        <a:pt x="0" y="16"/>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1" name="Freeform 36">
                  <a:extLst>
                    <a:ext uri="{FF2B5EF4-FFF2-40B4-BE49-F238E27FC236}">
                      <a16:creationId xmlns:a16="http://schemas.microsoft.com/office/drawing/2014/main" id="{876062F2-0C7B-45CC-8B2B-A73590011704}"/>
                    </a:ext>
                  </a:extLst>
                </p:cNvPr>
                <p:cNvSpPr>
                  <a:spLocks/>
                </p:cNvSpPr>
                <p:nvPr/>
              </p:nvSpPr>
              <p:spPr bwMode="auto">
                <a:xfrm>
                  <a:off x="3963" y="2686"/>
                  <a:ext cx="424" cy="368"/>
                </a:xfrm>
                <a:custGeom>
                  <a:avLst/>
                  <a:gdLst>
                    <a:gd name="T0" fmla="*/ 246 w 461"/>
                    <a:gd name="T1" fmla="*/ 9 h 401"/>
                    <a:gd name="T2" fmla="*/ 264 w 461"/>
                    <a:gd name="T3" fmla="*/ 59 h 401"/>
                    <a:gd name="T4" fmla="*/ 258 w 461"/>
                    <a:gd name="T5" fmla="*/ 81 h 401"/>
                    <a:gd name="T6" fmla="*/ 234 w 461"/>
                    <a:gd name="T7" fmla="*/ 130 h 401"/>
                    <a:gd name="T8" fmla="*/ 379 w 461"/>
                    <a:gd name="T9" fmla="*/ 198 h 401"/>
                    <a:gd name="T10" fmla="*/ 378 w 461"/>
                    <a:gd name="T11" fmla="*/ 242 h 401"/>
                    <a:gd name="T12" fmla="*/ 377 w 461"/>
                    <a:gd name="T13" fmla="*/ 273 h 401"/>
                    <a:gd name="T14" fmla="*/ 345 w 461"/>
                    <a:gd name="T15" fmla="*/ 266 h 401"/>
                    <a:gd name="T16" fmla="*/ 335 w 461"/>
                    <a:gd name="T17" fmla="*/ 294 h 401"/>
                    <a:gd name="T18" fmla="*/ 370 w 461"/>
                    <a:gd name="T19" fmla="*/ 289 h 401"/>
                    <a:gd name="T20" fmla="*/ 392 w 461"/>
                    <a:gd name="T21" fmla="*/ 285 h 401"/>
                    <a:gd name="T22" fmla="*/ 384 w 461"/>
                    <a:gd name="T23" fmla="*/ 298 h 401"/>
                    <a:gd name="T24" fmla="*/ 397 w 461"/>
                    <a:gd name="T25" fmla="*/ 310 h 401"/>
                    <a:gd name="T26" fmla="*/ 426 w 461"/>
                    <a:gd name="T27" fmla="*/ 286 h 401"/>
                    <a:gd name="T28" fmla="*/ 440 w 461"/>
                    <a:gd name="T29" fmla="*/ 288 h 401"/>
                    <a:gd name="T30" fmla="*/ 439 w 461"/>
                    <a:gd name="T31" fmla="*/ 305 h 401"/>
                    <a:gd name="T32" fmla="*/ 405 w 461"/>
                    <a:gd name="T33" fmla="*/ 337 h 401"/>
                    <a:gd name="T34" fmla="*/ 426 w 461"/>
                    <a:gd name="T35" fmla="*/ 364 h 401"/>
                    <a:gd name="T36" fmla="*/ 458 w 461"/>
                    <a:gd name="T37" fmla="*/ 389 h 401"/>
                    <a:gd name="T38" fmla="*/ 426 w 461"/>
                    <a:gd name="T39" fmla="*/ 382 h 401"/>
                    <a:gd name="T40" fmla="*/ 382 w 461"/>
                    <a:gd name="T41" fmla="*/ 356 h 401"/>
                    <a:gd name="T42" fmla="*/ 366 w 461"/>
                    <a:gd name="T43" fmla="*/ 375 h 401"/>
                    <a:gd name="T44" fmla="*/ 356 w 461"/>
                    <a:gd name="T45" fmla="*/ 391 h 401"/>
                    <a:gd name="T46" fmla="*/ 339 w 461"/>
                    <a:gd name="T47" fmla="*/ 378 h 401"/>
                    <a:gd name="T48" fmla="*/ 322 w 461"/>
                    <a:gd name="T49" fmla="*/ 378 h 401"/>
                    <a:gd name="T50" fmla="*/ 292 w 461"/>
                    <a:gd name="T51" fmla="*/ 389 h 401"/>
                    <a:gd name="T52" fmla="*/ 244 w 461"/>
                    <a:gd name="T53" fmla="*/ 357 h 401"/>
                    <a:gd name="T54" fmla="*/ 224 w 461"/>
                    <a:gd name="T55" fmla="*/ 343 h 401"/>
                    <a:gd name="T56" fmla="*/ 223 w 461"/>
                    <a:gd name="T57" fmla="*/ 335 h 401"/>
                    <a:gd name="T58" fmla="*/ 205 w 461"/>
                    <a:gd name="T59" fmla="*/ 334 h 401"/>
                    <a:gd name="T60" fmla="*/ 195 w 461"/>
                    <a:gd name="T61" fmla="*/ 326 h 401"/>
                    <a:gd name="T62" fmla="*/ 183 w 461"/>
                    <a:gd name="T63" fmla="*/ 353 h 401"/>
                    <a:gd name="T64" fmla="*/ 85 w 461"/>
                    <a:gd name="T65" fmla="*/ 335 h 401"/>
                    <a:gd name="T66" fmla="*/ 19 w 461"/>
                    <a:gd name="T67" fmla="*/ 334 h 401"/>
                    <a:gd name="T68" fmla="*/ 30 w 461"/>
                    <a:gd name="T69" fmla="*/ 318 h 401"/>
                    <a:gd name="T70" fmla="*/ 32 w 461"/>
                    <a:gd name="T71" fmla="*/ 278 h 401"/>
                    <a:gd name="T72" fmla="*/ 35 w 461"/>
                    <a:gd name="T73" fmla="*/ 254 h 401"/>
                    <a:gd name="T74" fmla="*/ 49 w 461"/>
                    <a:gd name="T75" fmla="*/ 222 h 401"/>
                    <a:gd name="T76" fmla="*/ 39 w 461"/>
                    <a:gd name="T77" fmla="*/ 183 h 401"/>
                    <a:gd name="T78" fmla="*/ 34 w 461"/>
                    <a:gd name="T79" fmla="*/ 170 h 401"/>
                    <a:gd name="T80" fmla="*/ 22 w 461"/>
                    <a:gd name="T81" fmla="*/ 153 h 401"/>
                    <a:gd name="T82" fmla="*/ 6 w 461"/>
                    <a:gd name="T83" fmla="*/ 11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1" h="401">
                      <a:moveTo>
                        <a:pt x="0" y="7"/>
                      </a:moveTo>
                      <a:lnTo>
                        <a:pt x="246" y="0"/>
                      </a:lnTo>
                      <a:lnTo>
                        <a:pt x="246" y="9"/>
                      </a:lnTo>
                      <a:lnTo>
                        <a:pt x="257" y="30"/>
                      </a:lnTo>
                      <a:lnTo>
                        <a:pt x="258" y="49"/>
                      </a:lnTo>
                      <a:lnTo>
                        <a:pt x="264" y="59"/>
                      </a:lnTo>
                      <a:lnTo>
                        <a:pt x="269" y="65"/>
                      </a:lnTo>
                      <a:lnTo>
                        <a:pt x="270" y="74"/>
                      </a:lnTo>
                      <a:lnTo>
                        <a:pt x="258" y="81"/>
                      </a:lnTo>
                      <a:lnTo>
                        <a:pt x="256" y="84"/>
                      </a:lnTo>
                      <a:lnTo>
                        <a:pt x="250" y="106"/>
                      </a:lnTo>
                      <a:lnTo>
                        <a:pt x="234" y="130"/>
                      </a:lnTo>
                      <a:lnTo>
                        <a:pt x="221" y="174"/>
                      </a:lnTo>
                      <a:lnTo>
                        <a:pt x="219" y="206"/>
                      </a:lnTo>
                      <a:lnTo>
                        <a:pt x="379" y="198"/>
                      </a:lnTo>
                      <a:lnTo>
                        <a:pt x="383" y="203"/>
                      </a:lnTo>
                      <a:lnTo>
                        <a:pt x="378" y="219"/>
                      </a:lnTo>
                      <a:lnTo>
                        <a:pt x="378" y="242"/>
                      </a:lnTo>
                      <a:lnTo>
                        <a:pt x="396" y="258"/>
                      </a:lnTo>
                      <a:lnTo>
                        <a:pt x="400" y="278"/>
                      </a:lnTo>
                      <a:lnTo>
                        <a:pt x="377" y="273"/>
                      </a:lnTo>
                      <a:lnTo>
                        <a:pt x="356" y="263"/>
                      </a:lnTo>
                      <a:lnTo>
                        <a:pt x="350" y="262"/>
                      </a:lnTo>
                      <a:lnTo>
                        <a:pt x="345" y="266"/>
                      </a:lnTo>
                      <a:lnTo>
                        <a:pt x="330" y="279"/>
                      </a:lnTo>
                      <a:lnTo>
                        <a:pt x="329" y="286"/>
                      </a:lnTo>
                      <a:lnTo>
                        <a:pt x="335" y="294"/>
                      </a:lnTo>
                      <a:lnTo>
                        <a:pt x="343" y="297"/>
                      </a:lnTo>
                      <a:lnTo>
                        <a:pt x="361" y="295"/>
                      </a:lnTo>
                      <a:lnTo>
                        <a:pt x="370" y="289"/>
                      </a:lnTo>
                      <a:lnTo>
                        <a:pt x="377" y="286"/>
                      </a:lnTo>
                      <a:lnTo>
                        <a:pt x="387" y="286"/>
                      </a:lnTo>
                      <a:lnTo>
                        <a:pt x="392" y="285"/>
                      </a:lnTo>
                      <a:lnTo>
                        <a:pt x="393" y="289"/>
                      </a:lnTo>
                      <a:lnTo>
                        <a:pt x="390" y="293"/>
                      </a:lnTo>
                      <a:lnTo>
                        <a:pt x="384" y="298"/>
                      </a:lnTo>
                      <a:lnTo>
                        <a:pt x="386" y="305"/>
                      </a:lnTo>
                      <a:lnTo>
                        <a:pt x="392" y="308"/>
                      </a:lnTo>
                      <a:lnTo>
                        <a:pt x="397" y="310"/>
                      </a:lnTo>
                      <a:lnTo>
                        <a:pt x="401" y="306"/>
                      </a:lnTo>
                      <a:lnTo>
                        <a:pt x="408" y="293"/>
                      </a:lnTo>
                      <a:lnTo>
                        <a:pt x="426" y="286"/>
                      </a:lnTo>
                      <a:lnTo>
                        <a:pt x="432" y="282"/>
                      </a:lnTo>
                      <a:lnTo>
                        <a:pt x="436" y="282"/>
                      </a:lnTo>
                      <a:lnTo>
                        <a:pt x="440" y="288"/>
                      </a:lnTo>
                      <a:lnTo>
                        <a:pt x="438" y="295"/>
                      </a:lnTo>
                      <a:lnTo>
                        <a:pt x="440" y="299"/>
                      </a:lnTo>
                      <a:lnTo>
                        <a:pt x="439" y="305"/>
                      </a:lnTo>
                      <a:lnTo>
                        <a:pt x="431" y="310"/>
                      </a:lnTo>
                      <a:lnTo>
                        <a:pt x="418" y="327"/>
                      </a:lnTo>
                      <a:lnTo>
                        <a:pt x="405" y="337"/>
                      </a:lnTo>
                      <a:lnTo>
                        <a:pt x="404" y="346"/>
                      </a:lnTo>
                      <a:lnTo>
                        <a:pt x="409" y="354"/>
                      </a:lnTo>
                      <a:lnTo>
                        <a:pt x="426" y="364"/>
                      </a:lnTo>
                      <a:lnTo>
                        <a:pt x="457" y="376"/>
                      </a:lnTo>
                      <a:lnTo>
                        <a:pt x="461" y="382"/>
                      </a:lnTo>
                      <a:lnTo>
                        <a:pt x="458" y="389"/>
                      </a:lnTo>
                      <a:lnTo>
                        <a:pt x="451" y="390"/>
                      </a:lnTo>
                      <a:lnTo>
                        <a:pt x="428" y="401"/>
                      </a:lnTo>
                      <a:lnTo>
                        <a:pt x="426" y="382"/>
                      </a:lnTo>
                      <a:lnTo>
                        <a:pt x="412" y="375"/>
                      </a:lnTo>
                      <a:lnTo>
                        <a:pt x="386" y="365"/>
                      </a:lnTo>
                      <a:lnTo>
                        <a:pt x="382" y="356"/>
                      </a:lnTo>
                      <a:lnTo>
                        <a:pt x="378" y="353"/>
                      </a:lnTo>
                      <a:lnTo>
                        <a:pt x="370" y="357"/>
                      </a:lnTo>
                      <a:lnTo>
                        <a:pt x="366" y="375"/>
                      </a:lnTo>
                      <a:lnTo>
                        <a:pt x="369" y="378"/>
                      </a:lnTo>
                      <a:lnTo>
                        <a:pt x="370" y="382"/>
                      </a:lnTo>
                      <a:lnTo>
                        <a:pt x="356" y="391"/>
                      </a:lnTo>
                      <a:lnTo>
                        <a:pt x="350" y="390"/>
                      </a:lnTo>
                      <a:lnTo>
                        <a:pt x="343" y="379"/>
                      </a:lnTo>
                      <a:lnTo>
                        <a:pt x="339" y="378"/>
                      </a:lnTo>
                      <a:lnTo>
                        <a:pt x="330" y="382"/>
                      </a:lnTo>
                      <a:lnTo>
                        <a:pt x="326" y="378"/>
                      </a:lnTo>
                      <a:lnTo>
                        <a:pt x="322" y="378"/>
                      </a:lnTo>
                      <a:lnTo>
                        <a:pt x="310" y="391"/>
                      </a:lnTo>
                      <a:lnTo>
                        <a:pt x="297" y="392"/>
                      </a:lnTo>
                      <a:lnTo>
                        <a:pt x="292" y="389"/>
                      </a:lnTo>
                      <a:lnTo>
                        <a:pt x="278" y="386"/>
                      </a:lnTo>
                      <a:lnTo>
                        <a:pt x="256" y="359"/>
                      </a:lnTo>
                      <a:lnTo>
                        <a:pt x="244" y="357"/>
                      </a:lnTo>
                      <a:lnTo>
                        <a:pt x="232" y="351"/>
                      </a:lnTo>
                      <a:lnTo>
                        <a:pt x="227" y="343"/>
                      </a:lnTo>
                      <a:lnTo>
                        <a:pt x="224" y="343"/>
                      </a:lnTo>
                      <a:lnTo>
                        <a:pt x="223" y="342"/>
                      </a:lnTo>
                      <a:lnTo>
                        <a:pt x="222" y="340"/>
                      </a:lnTo>
                      <a:lnTo>
                        <a:pt x="223" y="335"/>
                      </a:lnTo>
                      <a:lnTo>
                        <a:pt x="218" y="334"/>
                      </a:lnTo>
                      <a:lnTo>
                        <a:pt x="214" y="335"/>
                      </a:lnTo>
                      <a:lnTo>
                        <a:pt x="205" y="334"/>
                      </a:lnTo>
                      <a:lnTo>
                        <a:pt x="202" y="332"/>
                      </a:lnTo>
                      <a:lnTo>
                        <a:pt x="201" y="326"/>
                      </a:lnTo>
                      <a:lnTo>
                        <a:pt x="195" y="326"/>
                      </a:lnTo>
                      <a:lnTo>
                        <a:pt x="178" y="341"/>
                      </a:lnTo>
                      <a:lnTo>
                        <a:pt x="186" y="350"/>
                      </a:lnTo>
                      <a:lnTo>
                        <a:pt x="183" y="353"/>
                      </a:lnTo>
                      <a:lnTo>
                        <a:pt x="157" y="354"/>
                      </a:lnTo>
                      <a:lnTo>
                        <a:pt x="111" y="346"/>
                      </a:lnTo>
                      <a:lnTo>
                        <a:pt x="85" y="335"/>
                      </a:lnTo>
                      <a:lnTo>
                        <a:pt x="25" y="344"/>
                      </a:lnTo>
                      <a:lnTo>
                        <a:pt x="21" y="340"/>
                      </a:lnTo>
                      <a:lnTo>
                        <a:pt x="19" y="334"/>
                      </a:lnTo>
                      <a:lnTo>
                        <a:pt x="22" y="330"/>
                      </a:lnTo>
                      <a:lnTo>
                        <a:pt x="24" y="324"/>
                      </a:lnTo>
                      <a:lnTo>
                        <a:pt x="30" y="318"/>
                      </a:lnTo>
                      <a:lnTo>
                        <a:pt x="38" y="295"/>
                      </a:lnTo>
                      <a:lnTo>
                        <a:pt x="32" y="286"/>
                      </a:lnTo>
                      <a:lnTo>
                        <a:pt x="32" y="278"/>
                      </a:lnTo>
                      <a:lnTo>
                        <a:pt x="34" y="274"/>
                      </a:lnTo>
                      <a:lnTo>
                        <a:pt x="33" y="267"/>
                      </a:lnTo>
                      <a:lnTo>
                        <a:pt x="35" y="254"/>
                      </a:lnTo>
                      <a:lnTo>
                        <a:pt x="42" y="250"/>
                      </a:lnTo>
                      <a:lnTo>
                        <a:pt x="46" y="240"/>
                      </a:lnTo>
                      <a:lnTo>
                        <a:pt x="49" y="222"/>
                      </a:lnTo>
                      <a:lnTo>
                        <a:pt x="49" y="210"/>
                      </a:lnTo>
                      <a:lnTo>
                        <a:pt x="46" y="194"/>
                      </a:lnTo>
                      <a:lnTo>
                        <a:pt x="39" y="183"/>
                      </a:lnTo>
                      <a:lnTo>
                        <a:pt x="36" y="180"/>
                      </a:lnTo>
                      <a:lnTo>
                        <a:pt x="38" y="174"/>
                      </a:lnTo>
                      <a:lnTo>
                        <a:pt x="34" y="170"/>
                      </a:lnTo>
                      <a:lnTo>
                        <a:pt x="30" y="161"/>
                      </a:lnTo>
                      <a:lnTo>
                        <a:pt x="24" y="156"/>
                      </a:lnTo>
                      <a:lnTo>
                        <a:pt x="22" y="153"/>
                      </a:lnTo>
                      <a:lnTo>
                        <a:pt x="26" y="142"/>
                      </a:lnTo>
                      <a:lnTo>
                        <a:pt x="18" y="127"/>
                      </a:lnTo>
                      <a:lnTo>
                        <a:pt x="6" y="116"/>
                      </a:lnTo>
                      <a:lnTo>
                        <a:pt x="2" y="110"/>
                      </a:lnTo>
                      <a:lnTo>
                        <a:pt x="0" y="7"/>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2" name="Freeform 37">
                  <a:extLst>
                    <a:ext uri="{FF2B5EF4-FFF2-40B4-BE49-F238E27FC236}">
                      <a16:creationId xmlns:a16="http://schemas.microsoft.com/office/drawing/2014/main" id="{F88410AE-CFE7-441F-8D41-C667A649D543}"/>
                    </a:ext>
                  </a:extLst>
                </p:cNvPr>
                <p:cNvSpPr>
                  <a:spLocks/>
                </p:cNvSpPr>
                <p:nvPr/>
              </p:nvSpPr>
              <p:spPr bwMode="auto">
                <a:xfrm>
                  <a:off x="4164" y="2483"/>
                  <a:ext cx="263" cy="458"/>
                </a:xfrm>
                <a:custGeom>
                  <a:avLst/>
                  <a:gdLst>
                    <a:gd name="T0" fmla="*/ 264 w 286"/>
                    <a:gd name="T1" fmla="*/ 0 h 499"/>
                    <a:gd name="T2" fmla="*/ 92 w 286"/>
                    <a:gd name="T3" fmla="*/ 12 h 499"/>
                    <a:gd name="T4" fmla="*/ 91 w 286"/>
                    <a:gd name="T5" fmla="*/ 18 h 499"/>
                    <a:gd name="T6" fmla="*/ 75 w 286"/>
                    <a:gd name="T7" fmla="*/ 32 h 499"/>
                    <a:gd name="T8" fmla="*/ 70 w 286"/>
                    <a:gd name="T9" fmla="*/ 47 h 499"/>
                    <a:gd name="T10" fmla="*/ 71 w 286"/>
                    <a:gd name="T11" fmla="*/ 64 h 499"/>
                    <a:gd name="T12" fmla="*/ 69 w 286"/>
                    <a:gd name="T13" fmla="*/ 73 h 499"/>
                    <a:gd name="T14" fmla="*/ 54 w 286"/>
                    <a:gd name="T15" fmla="*/ 83 h 499"/>
                    <a:gd name="T16" fmla="*/ 43 w 286"/>
                    <a:gd name="T17" fmla="*/ 97 h 499"/>
                    <a:gd name="T18" fmla="*/ 39 w 286"/>
                    <a:gd name="T19" fmla="*/ 102 h 499"/>
                    <a:gd name="T20" fmla="*/ 39 w 286"/>
                    <a:gd name="T21" fmla="*/ 115 h 499"/>
                    <a:gd name="T22" fmla="*/ 32 w 286"/>
                    <a:gd name="T23" fmla="*/ 124 h 499"/>
                    <a:gd name="T24" fmla="*/ 32 w 286"/>
                    <a:gd name="T25" fmla="*/ 135 h 499"/>
                    <a:gd name="T26" fmla="*/ 27 w 286"/>
                    <a:gd name="T27" fmla="*/ 148 h 499"/>
                    <a:gd name="T28" fmla="*/ 19 w 286"/>
                    <a:gd name="T29" fmla="*/ 162 h 499"/>
                    <a:gd name="T30" fmla="*/ 23 w 286"/>
                    <a:gd name="T31" fmla="*/ 177 h 499"/>
                    <a:gd name="T32" fmla="*/ 30 w 286"/>
                    <a:gd name="T33" fmla="*/ 186 h 499"/>
                    <a:gd name="T34" fmla="*/ 31 w 286"/>
                    <a:gd name="T35" fmla="*/ 196 h 499"/>
                    <a:gd name="T36" fmla="*/ 34 w 286"/>
                    <a:gd name="T37" fmla="*/ 199 h 499"/>
                    <a:gd name="T38" fmla="*/ 34 w 286"/>
                    <a:gd name="T39" fmla="*/ 203 h 499"/>
                    <a:gd name="T40" fmla="*/ 29 w 286"/>
                    <a:gd name="T41" fmla="*/ 207 h 499"/>
                    <a:gd name="T42" fmla="*/ 27 w 286"/>
                    <a:gd name="T43" fmla="*/ 215 h 499"/>
                    <a:gd name="T44" fmla="*/ 27 w 286"/>
                    <a:gd name="T45" fmla="*/ 221 h 499"/>
                    <a:gd name="T46" fmla="*/ 27 w 286"/>
                    <a:gd name="T47" fmla="*/ 230 h 499"/>
                    <a:gd name="T48" fmla="*/ 38 w 286"/>
                    <a:gd name="T49" fmla="*/ 251 h 499"/>
                    <a:gd name="T50" fmla="*/ 39 w 286"/>
                    <a:gd name="T51" fmla="*/ 270 h 499"/>
                    <a:gd name="T52" fmla="*/ 45 w 286"/>
                    <a:gd name="T53" fmla="*/ 280 h 499"/>
                    <a:gd name="T54" fmla="*/ 50 w 286"/>
                    <a:gd name="T55" fmla="*/ 286 h 499"/>
                    <a:gd name="T56" fmla="*/ 51 w 286"/>
                    <a:gd name="T57" fmla="*/ 295 h 499"/>
                    <a:gd name="T58" fmla="*/ 39 w 286"/>
                    <a:gd name="T59" fmla="*/ 302 h 499"/>
                    <a:gd name="T60" fmla="*/ 37 w 286"/>
                    <a:gd name="T61" fmla="*/ 305 h 499"/>
                    <a:gd name="T62" fmla="*/ 31 w 286"/>
                    <a:gd name="T63" fmla="*/ 327 h 499"/>
                    <a:gd name="T64" fmla="*/ 15 w 286"/>
                    <a:gd name="T65" fmla="*/ 351 h 499"/>
                    <a:gd name="T66" fmla="*/ 2 w 286"/>
                    <a:gd name="T67" fmla="*/ 395 h 499"/>
                    <a:gd name="T68" fmla="*/ 0 w 286"/>
                    <a:gd name="T69" fmla="*/ 427 h 499"/>
                    <a:gd name="T70" fmla="*/ 160 w 286"/>
                    <a:gd name="T71" fmla="*/ 419 h 499"/>
                    <a:gd name="T72" fmla="*/ 164 w 286"/>
                    <a:gd name="T73" fmla="*/ 424 h 499"/>
                    <a:gd name="T74" fmla="*/ 159 w 286"/>
                    <a:gd name="T75" fmla="*/ 440 h 499"/>
                    <a:gd name="T76" fmla="*/ 159 w 286"/>
                    <a:gd name="T77" fmla="*/ 463 h 499"/>
                    <a:gd name="T78" fmla="*/ 177 w 286"/>
                    <a:gd name="T79" fmla="*/ 479 h 499"/>
                    <a:gd name="T80" fmla="*/ 181 w 286"/>
                    <a:gd name="T81" fmla="*/ 499 h 499"/>
                    <a:gd name="T82" fmla="*/ 192 w 286"/>
                    <a:gd name="T83" fmla="*/ 499 h 499"/>
                    <a:gd name="T84" fmla="*/ 209 w 286"/>
                    <a:gd name="T85" fmla="*/ 485 h 499"/>
                    <a:gd name="T86" fmla="*/ 248 w 286"/>
                    <a:gd name="T87" fmla="*/ 473 h 499"/>
                    <a:gd name="T88" fmla="*/ 258 w 286"/>
                    <a:gd name="T89" fmla="*/ 476 h 499"/>
                    <a:gd name="T90" fmla="*/ 271 w 286"/>
                    <a:gd name="T91" fmla="*/ 471 h 499"/>
                    <a:gd name="T92" fmla="*/ 274 w 286"/>
                    <a:gd name="T93" fmla="*/ 475 h 499"/>
                    <a:gd name="T94" fmla="*/ 283 w 286"/>
                    <a:gd name="T95" fmla="*/ 478 h 499"/>
                    <a:gd name="T96" fmla="*/ 286 w 286"/>
                    <a:gd name="T97" fmla="*/ 476 h 499"/>
                    <a:gd name="T98" fmla="*/ 267 w 286"/>
                    <a:gd name="T99" fmla="*/ 324 h 499"/>
                    <a:gd name="T100" fmla="*/ 266 w 286"/>
                    <a:gd name="T101" fmla="*/ 310 h 499"/>
                    <a:gd name="T102" fmla="*/ 272 w 286"/>
                    <a:gd name="T103" fmla="*/ 9 h 499"/>
                    <a:gd name="T104" fmla="*/ 264 w 286"/>
                    <a:gd name="T105"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6" h="499">
                      <a:moveTo>
                        <a:pt x="264" y="0"/>
                      </a:moveTo>
                      <a:lnTo>
                        <a:pt x="92" y="12"/>
                      </a:lnTo>
                      <a:lnTo>
                        <a:pt x="91" y="18"/>
                      </a:lnTo>
                      <a:lnTo>
                        <a:pt x="75" y="32"/>
                      </a:lnTo>
                      <a:lnTo>
                        <a:pt x="70" y="47"/>
                      </a:lnTo>
                      <a:lnTo>
                        <a:pt x="71" y="64"/>
                      </a:lnTo>
                      <a:lnTo>
                        <a:pt x="69" y="73"/>
                      </a:lnTo>
                      <a:lnTo>
                        <a:pt x="54" y="83"/>
                      </a:lnTo>
                      <a:lnTo>
                        <a:pt x="43" y="97"/>
                      </a:lnTo>
                      <a:lnTo>
                        <a:pt x="39" y="102"/>
                      </a:lnTo>
                      <a:lnTo>
                        <a:pt x="39" y="115"/>
                      </a:lnTo>
                      <a:lnTo>
                        <a:pt x="32" y="124"/>
                      </a:lnTo>
                      <a:lnTo>
                        <a:pt x="32" y="135"/>
                      </a:lnTo>
                      <a:lnTo>
                        <a:pt x="27" y="148"/>
                      </a:lnTo>
                      <a:lnTo>
                        <a:pt x="19" y="162"/>
                      </a:lnTo>
                      <a:lnTo>
                        <a:pt x="23" y="177"/>
                      </a:lnTo>
                      <a:lnTo>
                        <a:pt x="30" y="186"/>
                      </a:lnTo>
                      <a:lnTo>
                        <a:pt x="31" y="196"/>
                      </a:lnTo>
                      <a:lnTo>
                        <a:pt x="34" y="199"/>
                      </a:lnTo>
                      <a:lnTo>
                        <a:pt x="34" y="203"/>
                      </a:lnTo>
                      <a:lnTo>
                        <a:pt x="29" y="207"/>
                      </a:lnTo>
                      <a:lnTo>
                        <a:pt x="27" y="215"/>
                      </a:lnTo>
                      <a:lnTo>
                        <a:pt x="27" y="221"/>
                      </a:lnTo>
                      <a:lnTo>
                        <a:pt x="27" y="230"/>
                      </a:lnTo>
                      <a:lnTo>
                        <a:pt x="38" y="251"/>
                      </a:lnTo>
                      <a:lnTo>
                        <a:pt x="39" y="270"/>
                      </a:lnTo>
                      <a:lnTo>
                        <a:pt x="45" y="280"/>
                      </a:lnTo>
                      <a:lnTo>
                        <a:pt x="50" y="286"/>
                      </a:lnTo>
                      <a:lnTo>
                        <a:pt x="51" y="295"/>
                      </a:lnTo>
                      <a:lnTo>
                        <a:pt x="39" y="302"/>
                      </a:lnTo>
                      <a:lnTo>
                        <a:pt x="37" y="305"/>
                      </a:lnTo>
                      <a:lnTo>
                        <a:pt x="31" y="327"/>
                      </a:lnTo>
                      <a:lnTo>
                        <a:pt x="15" y="351"/>
                      </a:lnTo>
                      <a:lnTo>
                        <a:pt x="2" y="395"/>
                      </a:lnTo>
                      <a:lnTo>
                        <a:pt x="0" y="427"/>
                      </a:lnTo>
                      <a:lnTo>
                        <a:pt x="160" y="419"/>
                      </a:lnTo>
                      <a:lnTo>
                        <a:pt x="164" y="424"/>
                      </a:lnTo>
                      <a:lnTo>
                        <a:pt x="159" y="440"/>
                      </a:lnTo>
                      <a:lnTo>
                        <a:pt x="159" y="463"/>
                      </a:lnTo>
                      <a:lnTo>
                        <a:pt x="177" y="479"/>
                      </a:lnTo>
                      <a:lnTo>
                        <a:pt x="181" y="499"/>
                      </a:lnTo>
                      <a:lnTo>
                        <a:pt x="192" y="499"/>
                      </a:lnTo>
                      <a:lnTo>
                        <a:pt x="209" y="485"/>
                      </a:lnTo>
                      <a:lnTo>
                        <a:pt x="248" y="473"/>
                      </a:lnTo>
                      <a:lnTo>
                        <a:pt x="258" y="476"/>
                      </a:lnTo>
                      <a:lnTo>
                        <a:pt x="271" y="471"/>
                      </a:lnTo>
                      <a:lnTo>
                        <a:pt x="274" y="475"/>
                      </a:lnTo>
                      <a:lnTo>
                        <a:pt x="283" y="478"/>
                      </a:lnTo>
                      <a:lnTo>
                        <a:pt x="286" y="476"/>
                      </a:lnTo>
                      <a:lnTo>
                        <a:pt x="267" y="324"/>
                      </a:lnTo>
                      <a:lnTo>
                        <a:pt x="266" y="310"/>
                      </a:lnTo>
                      <a:lnTo>
                        <a:pt x="272" y="9"/>
                      </a:lnTo>
                      <a:lnTo>
                        <a:pt x="264"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3" name="Freeform 38">
                  <a:extLst>
                    <a:ext uri="{FF2B5EF4-FFF2-40B4-BE49-F238E27FC236}">
                      <a16:creationId xmlns:a16="http://schemas.microsoft.com/office/drawing/2014/main" id="{9451604A-67A9-443C-8682-B9276C86DE81}"/>
                    </a:ext>
                  </a:extLst>
                </p:cNvPr>
                <p:cNvSpPr>
                  <a:spLocks/>
                </p:cNvSpPr>
                <p:nvPr/>
              </p:nvSpPr>
              <p:spPr bwMode="auto">
                <a:xfrm>
                  <a:off x="4130" y="1774"/>
                  <a:ext cx="298" cy="528"/>
                </a:xfrm>
                <a:custGeom>
                  <a:avLst/>
                  <a:gdLst>
                    <a:gd name="T0" fmla="*/ 55 w 324"/>
                    <a:gd name="T1" fmla="*/ 15 h 576"/>
                    <a:gd name="T2" fmla="*/ 73 w 324"/>
                    <a:gd name="T3" fmla="*/ 31 h 576"/>
                    <a:gd name="T4" fmla="*/ 90 w 324"/>
                    <a:gd name="T5" fmla="*/ 50 h 576"/>
                    <a:gd name="T6" fmla="*/ 94 w 324"/>
                    <a:gd name="T7" fmla="*/ 76 h 576"/>
                    <a:gd name="T8" fmla="*/ 84 w 324"/>
                    <a:gd name="T9" fmla="*/ 92 h 576"/>
                    <a:gd name="T10" fmla="*/ 70 w 324"/>
                    <a:gd name="T11" fmla="*/ 116 h 576"/>
                    <a:gd name="T12" fmla="*/ 54 w 324"/>
                    <a:gd name="T13" fmla="*/ 124 h 576"/>
                    <a:gd name="T14" fmla="*/ 31 w 324"/>
                    <a:gd name="T15" fmla="*/ 129 h 576"/>
                    <a:gd name="T16" fmla="*/ 27 w 324"/>
                    <a:gd name="T17" fmla="*/ 148 h 576"/>
                    <a:gd name="T18" fmla="*/ 39 w 324"/>
                    <a:gd name="T19" fmla="*/ 164 h 576"/>
                    <a:gd name="T20" fmla="*/ 25 w 324"/>
                    <a:gd name="T21" fmla="*/ 204 h 576"/>
                    <a:gd name="T22" fmla="*/ 9 w 324"/>
                    <a:gd name="T23" fmla="*/ 220 h 576"/>
                    <a:gd name="T24" fmla="*/ 4 w 324"/>
                    <a:gd name="T25" fmla="*/ 237 h 576"/>
                    <a:gd name="T26" fmla="*/ 0 w 324"/>
                    <a:gd name="T27" fmla="*/ 252 h 576"/>
                    <a:gd name="T28" fmla="*/ 8 w 324"/>
                    <a:gd name="T29" fmla="*/ 288 h 576"/>
                    <a:gd name="T30" fmla="*/ 32 w 324"/>
                    <a:gd name="T31" fmla="*/ 323 h 576"/>
                    <a:gd name="T32" fmla="*/ 62 w 324"/>
                    <a:gd name="T33" fmla="*/ 348 h 576"/>
                    <a:gd name="T34" fmla="*/ 80 w 324"/>
                    <a:gd name="T35" fmla="*/ 388 h 576"/>
                    <a:gd name="T36" fmla="*/ 93 w 324"/>
                    <a:gd name="T37" fmla="*/ 377 h 576"/>
                    <a:gd name="T38" fmla="*/ 116 w 324"/>
                    <a:gd name="T39" fmla="*/ 393 h 576"/>
                    <a:gd name="T40" fmla="*/ 113 w 324"/>
                    <a:gd name="T41" fmla="*/ 420 h 576"/>
                    <a:gd name="T42" fmla="*/ 96 w 324"/>
                    <a:gd name="T43" fmla="*/ 444 h 576"/>
                    <a:gd name="T44" fmla="*/ 115 w 324"/>
                    <a:gd name="T45" fmla="*/ 468 h 576"/>
                    <a:gd name="T46" fmla="*/ 148 w 324"/>
                    <a:gd name="T47" fmla="*/ 487 h 576"/>
                    <a:gd name="T48" fmla="*/ 176 w 324"/>
                    <a:gd name="T49" fmla="*/ 524 h 576"/>
                    <a:gd name="T50" fmla="*/ 183 w 324"/>
                    <a:gd name="T51" fmla="*/ 537 h 576"/>
                    <a:gd name="T52" fmla="*/ 176 w 324"/>
                    <a:gd name="T53" fmla="*/ 548 h 576"/>
                    <a:gd name="T54" fmla="*/ 196 w 324"/>
                    <a:gd name="T55" fmla="*/ 574 h 576"/>
                    <a:gd name="T56" fmla="*/ 202 w 324"/>
                    <a:gd name="T57" fmla="*/ 570 h 576"/>
                    <a:gd name="T58" fmla="*/ 208 w 324"/>
                    <a:gd name="T59" fmla="*/ 554 h 576"/>
                    <a:gd name="T60" fmla="*/ 232 w 324"/>
                    <a:gd name="T61" fmla="*/ 552 h 576"/>
                    <a:gd name="T62" fmla="*/ 252 w 324"/>
                    <a:gd name="T63" fmla="*/ 564 h 576"/>
                    <a:gd name="T64" fmla="*/ 258 w 324"/>
                    <a:gd name="T65" fmla="*/ 538 h 576"/>
                    <a:gd name="T66" fmla="*/ 264 w 324"/>
                    <a:gd name="T67" fmla="*/ 524 h 576"/>
                    <a:gd name="T68" fmla="*/ 290 w 324"/>
                    <a:gd name="T69" fmla="*/ 515 h 576"/>
                    <a:gd name="T70" fmla="*/ 282 w 324"/>
                    <a:gd name="T71" fmla="*/ 501 h 576"/>
                    <a:gd name="T72" fmla="*/ 287 w 324"/>
                    <a:gd name="T73" fmla="*/ 491 h 576"/>
                    <a:gd name="T74" fmla="*/ 288 w 324"/>
                    <a:gd name="T75" fmla="*/ 484 h 576"/>
                    <a:gd name="T76" fmla="*/ 288 w 324"/>
                    <a:gd name="T77" fmla="*/ 476 h 576"/>
                    <a:gd name="T78" fmla="*/ 292 w 324"/>
                    <a:gd name="T79" fmla="*/ 442 h 576"/>
                    <a:gd name="T80" fmla="*/ 312 w 324"/>
                    <a:gd name="T81" fmla="*/ 414 h 576"/>
                    <a:gd name="T82" fmla="*/ 324 w 324"/>
                    <a:gd name="T83" fmla="*/ 388 h 576"/>
                    <a:gd name="T84" fmla="*/ 311 w 324"/>
                    <a:gd name="T85" fmla="*/ 347 h 576"/>
                    <a:gd name="T86" fmla="*/ 312 w 324"/>
                    <a:gd name="T87" fmla="*/ 325 h 576"/>
                    <a:gd name="T88" fmla="*/ 296 w 324"/>
                    <a:gd name="T89" fmla="*/ 79 h 576"/>
                    <a:gd name="T90" fmla="*/ 288 w 324"/>
                    <a:gd name="T91" fmla="*/ 70 h 576"/>
                    <a:gd name="T92" fmla="*/ 280 w 324"/>
                    <a:gd name="T93" fmla="*/ 41 h 576"/>
                    <a:gd name="T94" fmla="*/ 266 w 324"/>
                    <a:gd name="T95" fmla="*/ 19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576">
                      <a:moveTo>
                        <a:pt x="266" y="0"/>
                      </a:moveTo>
                      <a:lnTo>
                        <a:pt x="55" y="15"/>
                      </a:lnTo>
                      <a:lnTo>
                        <a:pt x="58" y="20"/>
                      </a:lnTo>
                      <a:lnTo>
                        <a:pt x="73" y="31"/>
                      </a:lnTo>
                      <a:lnTo>
                        <a:pt x="75" y="41"/>
                      </a:lnTo>
                      <a:lnTo>
                        <a:pt x="90" y="50"/>
                      </a:lnTo>
                      <a:lnTo>
                        <a:pt x="95" y="68"/>
                      </a:lnTo>
                      <a:lnTo>
                        <a:pt x="94" y="76"/>
                      </a:lnTo>
                      <a:lnTo>
                        <a:pt x="89" y="87"/>
                      </a:lnTo>
                      <a:lnTo>
                        <a:pt x="84" y="92"/>
                      </a:lnTo>
                      <a:lnTo>
                        <a:pt x="84" y="101"/>
                      </a:lnTo>
                      <a:lnTo>
                        <a:pt x="70" y="116"/>
                      </a:lnTo>
                      <a:lnTo>
                        <a:pt x="58" y="120"/>
                      </a:lnTo>
                      <a:lnTo>
                        <a:pt x="54" y="124"/>
                      </a:lnTo>
                      <a:lnTo>
                        <a:pt x="39" y="124"/>
                      </a:lnTo>
                      <a:lnTo>
                        <a:pt x="31" y="129"/>
                      </a:lnTo>
                      <a:lnTo>
                        <a:pt x="26" y="140"/>
                      </a:lnTo>
                      <a:lnTo>
                        <a:pt x="27" y="148"/>
                      </a:lnTo>
                      <a:lnTo>
                        <a:pt x="36" y="158"/>
                      </a:lnTo>
                      <a:lnTo>
                        <a:pt x="39" y="164"/>
                      </a:lnTo>
                      <a:lnTo>
                        <a:pt x="36" y="180"/>
                      </a:lnTo>
                      <a:lnTo>
                        <a:pt x="25" y="204"/>
                      </a:lnTo>
                      <a:lnTo>
                        <a:pt x="13" y="212"/>
                      </a:lnTo>
                      <a:lnTo>
                        <a:pt x="9" y="220"/>
                      </a:lnTo>
                      <a:lnTo>
                        <a:pt x="10" y="228"/>
                      </a:lnTo>
                      <a:lnTo>
                        <a:pt x="4" y="237"/>
                      </a:lnTo>
                      <a:lnTo>
                        <a:pt x="4" y="241"/>
                      </a:lnTo>
                      <a:lnTo>
                        <a:pt x="0" y="252"/>
                      </a:lnTo>
                      <a:lnTo>
                        <a:pt x="2" y="272"/>
                      </a:lnTo>
                      <a:lnTo>
                        <a:pt x="8" y="288"/>
                      </a:lnTo>
                      <a:lnTo>
                        <a:pt x="9" y="296"/>
                      </a:lnTo>
                      <a:lnTo>
                        <a:pt x="32" y="323"/>
                      </a:lnTo>
                      <a:lnTo>
                        <a:pt x="56" y="341"/>
                      </a:lnTo>
                      <a:lnTo>
                        <a:pt x="62" y="348"/>
                      </a:lnTo>
                      <a:lnTo>
                        <a:pt x="76" y="384"/>
                      </a:lnTo>
                      <a:lnTo>
                        <a:pt x="80" y="388"/>
                      </a:lnTo>
                      <a:lnTo>
                        <a:pt x="87" y="380"/>
                      </a:lnTo>
                      <a:lnTo>
                        <a:pt x="93" y="377"/>
                      </a:lnTo>
                      <a:lnTo>
                        <a:pt x="112" y="387"/>
                      </a:lnTo>
                      <a:lnTo>
                        <a:pt x="116" y="393"/>
                      </a:lnTo>
                      <a:lnTo>
                        <a:pt x="112" y="406"/>
                      </a:lnTo>
                      <a:lnTo>
                        <a:pt x="113" y="420"/>
                      </a:lnTo>
                      <a:lnTo>
                        <a:pt x="99" y="437"/>
                      </a:lnTo>
                      <a:lnTo>
                        <a:pt x="96" y="444"/>
                      </a:lnTo>
                      <a:lnTo>
                        <a:pt x="101" y="456"/>
                      </a:lnTo>
                      <a:lnTo>
                        <a:pt x="115" y="468"/>
                      </a:lnTo>
                      <a:lnTo>
                        <a:pt x="137" y="483"/>
                      </a:lnTo>
                      <a:lnTo>
                        <a:pt x="148" y="487"/>
                      </a:lnTo>
                      <a:lnTo>
                        <a:pt x="172" y="507"/>
                      </a:lnTo>
                      <a:lnTo>
                        <a:pt x="176" y="524"/>
                      </a:lnTo>
                      <a:lnTo>
                        <a:pt x="183" y="533"/>
                      </a:lnTo>
                      <a:lnTo>
                        <a:pt x="183" y="537"/>
                      </a:lnTo>
                      <a:lnTo>
                        <a:pt x="176" y="544"/>
                      </a:lnTo>
                      <a:lnTo>
                        <a:pt x="176" y="548"/>
                      </a:lnTo>
                      <a:lnTo>
                        <a:pt x="192" y="576"/>
                      </a:lnTo>
                      <a:lnTo>
                        <a:pt x="196" y="574"/>
                      </a:lnTo>
                      <a:lnTo>
                        <a:pt x="196" y="570"/>
                      </a:lnTo>
                      <a:lnTo>
                        <a:pt x="202" y="570"/>
                      </a:lnTo>
                      <a:lnTo>
                        <a:pt x="204" y="572"/>
                      </a:lnTo>
                      <a:lnTo>
                        <a:pt x="208" y="554"/>
                      </a:lnTo>
                      <a:lnTo>
                        <a:pt x="218" y="549"/>
                      </a:lnTo>
                      <a:lnTo>
                        <a:pt x="232" y="552"/>
                      </a:lnTo>
                      <a:lnTo>
                        <a:pt x="242" y="556"/>
                      </a:lnTo>
                      <a:lnTo>
                        <a:pt x="252" y="564"/>
                      </a:lnTo>
                      <a:lnTo>
                        <a:pt x="263" y="559"/>
                      </a:lnTo>
                      <a:lnTo>
                        <a:pt x="258" y="538"/>
                      </a:lnTo>
                      <a:lnTo>
                        <a:pt x="256" y="528"/>
                      </a:lnTo>
                      <a:lnTo>
                        <a:pt x="264" y="524"/>
                      </a:lnTo>
                      <a:lnTo>
                        <a:pt x="288" y="516"/>
                      </a:lnTo>
                      <a:lnTo>
                        <a:pt x="290" y="515"/>
                      </a:lnTo>
                      <a:lnTo>
                        <a:pt x="282" y="504"/>
                      </a:lnTo>
                      <a:lnTo>
                        <a:pt x="282" y="501"/>
                      </a:lnTo>
                      <a:lnTo>
                        <a:pt x="285" y="499"/>
                      </a:lnTo>
                      <a:lnTo>
                        <a:pt x="287" y="491"/>
                      </a:lnTo>
                      <a:lnTo>
                        <a:pt x="290" y="486"/>
                      </a:lnTo>
                      <a:lnTo>
                        <a:pt x="288" y="484"/>
                      </a:lnTo>
                      <a:lnTo>
                        <a:pt x="288" y="480"/>
                      </a:lnTo>
                      <a:lnTo>
                        <a:pt x="288" y="476"/>
                      </a:lnTo>
                      <a:lnTo>
                        <a:pt x="292" y="457"/>
                      </a:lnTo>
                      <a:lnTo>
                        <a:pt x="292" y="442"/>
                      </a:lnTo>
                      <a:lnTo>
                        <a:pt x="304" y="430"/>
                      </a:lnTo>
                      <a:lnTo>
                        <a:pt x="312" y="414"/>
                      </a:lnTo>
                      <a:lnTo>
                        <a:pt x="312" y="408"/>
                      </a:lnTo>
                      <a:lnTo>
                        <a:pt x="324" y="388"/>
                      </a:lnTo>
                      <a:lnTo>
                        <a:pt x="320" y="365"/>
                      </a:lnTo>
                      <a:lnTo>
                        <a:pt x="311" y="347"/>
                      </a:lnTo>
                      <a:lnTo>
                        <a:pt x="314" y="334"/>
                      </a:lnTo>
                      <a:lnTo>
                        <a:pt x="312" y="325"/>
                      </a:lnTo>
                      <a:lnTo>
                        <a:pt x="316" y="321"/>
                      </a:lnTo>
                      <a:lnTo>
                        <a:pt x="296" y="79"/>
                      </a:lnTo>
                      <a:lnTo>
                        <a:pt x="292" y="76"/>
                      </a:lnTo>
                      <a:lnTo>
                        <a:pt x="288" y="70"/>
                      </a:lnTo>
                      <a:lnTo>
                        <a:pt x="284" y="48"/>
                      </a:lnTo>
                      <a:lnTo>
                        <a:pt x="280" y="41"/>
                      </a:lnTo>
                      <a:lnTo>
                        <a:pt x="273" y="34"/>
                      </a:lnTo>
                      <a:lnTo>
                        <a:pt x="266" y="19"/>
                      </a:lnTo>
                      <a:lnTo>
                        <a:pt x="266" y="0"/>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4" name="Freeform 39">
                  <a:extLst>
                    <a:ext uri="{FF2B5EF4-FFF2-40B4-BE49-F238E27FC236}">
                      <a16:creationId xmlns:a16="http://schemas.microsoft.com/office/drawing/2014/main" id="{7223D2F8-AEBC-4848-83F2-179963B136B1}"/>
                    </a:ext>
                  </a:extLst>
                </p:cNvPr>
                <p:cNvSpPr>
                  <a:spLocks/>
                </p:cNvSpPr>
                <p:nvPr/>
              </p:nvSpPr>
              <p:spPr bwMode="auto">
                <a:xfrm>
                  <a:off x="4014" y="1369"/>
                  <a:ext cx="392" cy="419"/>
                </a:xfrm>
                <a:custGeom>
                  <a:avLst/>
                  <a:gdLst>
                    <a:gd name="T0" fmla="*/ 179 w 428"/>
                    <a:gd name="T1" fmla="*/ 446 h 456"/>
                    <a:gd name="T2" fmla="*/ 148 w 428"/>
                    <a:gd name="T3" fmla="*/ 432 h 456"/>
                    <a:gd name="T4" fmla="*/ 137 w 428"/>
                    <a:gd name="T5" fmla="*/ 391 h 456"/>
                    <a:gd name="T6" fmla="*/ 143 w 428"/>
                    <a:gd name="T7" fmla="*/ 375 h 456"/>
                    <a:gd name="T8" fmla="*/ 131 w 428"/>
                    <a:gd name="T9" fmla="*/ 354 h 456"/>
                    <a:gd name="T10" fmla="*/ 129 w 428"/>
                    <a:gd name="T11" fmla="*/ 323 h 456"/>
                    <a:gd name="T12" fmla="*/ 103 w 428"/>
                    <a:gd name="T13" fmla="*/ 301 h 456"/>
                    <a:gd name="T14" fmla="*/ 75 w 428"/>
                    <a:gd name="T15" fmla="*/ 270 h 456"/>
                    <a:gd name="T16" fmla="*/ 48 w 428"/>
                    <a:gd name="T17" fmla="*/ 257 h 456"/>
                    <a:gd name="T18" fmla="*/ 44 w 428"/>
                    <a:gd name="T19" fmla="*/ 250 h 456"/>
                    <a:gd name="T20" fmla="*/ 23 w 428"/>
                    <a:gd name="T21" fmla="*/ 242 h 456"/>
                    <a:gd name="T22" fmla="*/ 11 w 428"/>
                    <a:gd name="T23" fmla="*/ 231 h 456"/>
                    <a:gd name="T24" fmla="*/ 13 w 428"/>
                    <a:gd name="T25" fmla="*/ 187 h 456"/>
                    <a:gd name="T26" fmla="*/ 19 w 428"/>
                    <a:gd name="T27" fmla="*/ 164 h 456"/>
                    <a:gd name="T28" fmla="*/ 0 w 428"/>
                    <a:gd name="T29" fmla="*/ 146 h 456"/>
                    <a:gd name="T30" fmla="*/ 8 w 428"/>
                    <a:gd name="T31" fmla="*/ 128 h 456"/>
                    <a:gd name="T32" fmla="*/ 30 w 428"/>
                    <a:gd name="T33" fmla="*/ 103 h 456"/>
                    <a:gd name="T34" fmla="*/ 42 w 428"/>
                    <a:gd name="T35" fmla="*/ 93 h 456"/>
                    <a:gd name="T36" fmla="*/ 45 w 428"/>
                    <a:gd name="T37" fmla="*/ 33 h 456"/>
                    <a:gd name="T38" fmla="*/ 58 w 428"/>
                    <a:gd name="T39" fmla="*/ 30 h 456"/>
                    <a:gd name="T40" fmla="*/ 79 w 428"/>
                    <a:gd name="T41" fmla="*/ 31 h 456"/>
                    <a:gd name="T42" fmla="*/ 135 w 428"/>
                    <a:gd name="T43" fmla="*/ 1 h 456"/>
                    <a:gd name="T44" fmla="*/ 143 w 428"/>
                    <a:gd name="T45" fmla="*/ 4 h 456"/>
                    <a:gd name="T46" fmla="*/ 140 w 428"/>
                    <a:gd name="T47" fmla="*/ 17 h 456"/>
                    <a:gd name="T48" fmla="*/ 136 w 428"/>
                    <a:gd name="T49" fmla="*/ 36 h 456"/>
                    <a:gd name="T50" fmla="*/ 157 w 428"/>
                    <a:gd name="T51" fmla="*/ 30 h 456"/>
                    <a:gd name="T52" fmla="*/ 174 w 428"/>
                    <a:gd name="T53" fmla="*/ 36 h 456"/>
                    <a:gd name="T54" fmla="*/ 188 w 428"/>
                    <a:gd name="T55" fmla="*/ 44 h 456"/>
                    <a:gd name="T56" fmla="*/ 196 w 428"/>
                    <a:gd name="T57" fmla="*/ 60 h 456"/>
                    <a:gd name="T58" fmla="*/ 268 w 428"/>
                    <a:gd name="T59" fmla="*/ 76 h 456"/>
                    <a:gd name="T60" fmla="*/ 291 w 428"/>
                    <a:gd name="T61" fmla="*/ 88 h 456"/>
                    <a:gd name="T62" fmla="*/ 303 w 428"/>
                    <a:gd name="T63" fmla="*/ 91 h 456"/>
                    <a:gd name="T64" fmla="*/ 311 w 428"/>
                    <a:gd name="T65" fmla="*/ 88 h 456"/>
                    <a:gd name="T66" fmla="*/ 339 w 428"/>
                    <a:gd name="T67" fmla="*/ 94 h 456"/>
                    <a:gd name="T68" fmla="*/ 341 w 428"/>
                    <a:gd name="T69" fmla="*/ 100 h 456"/>
                    <a:gd name="T70" fmla="*/ 351 w 428"/>
                    <a:gd name="T71" fmla="*/ 107 h 456"/>
                    <a:gd name="T72" fmla="*/ 366 w 428"/>
                    <a:gd name="T73" fmla="*/ 123 h 456"/>
                    <a:gd name="T74" fmla="*/ 364 w 428"/>
                    <a:gd name="T75" fmla="*/ 149 h 456"/>
                    <a:gd name="T76" fmla="*/ 379 w 428"/>
                    <a:gd name="T77" fmla="*/ 148 h 456"/>
                    <a:gd name="T78" fmla="*/ 373 w 428"/>
                    <a:gd name="T79" fmla="*/ 158 h 456"/>
                    <a:gd name="T80" fmla="*/ 387 w 428"/>
                    <a:gd name="T81" fmla="*/ 176 h 456"/>
                    <a:gd name="T82" fmla="*/ 371 w 428"/>
                    <a:gd name="T83" fmla="*/ 193 h 456"/>
                    <a:gd name="T84" fmla="*/ 358 w 428"/>
                    <a:gd name="T85" fmla="*/ 226 h 456"/>
                    <a:gd name="T86" fmla="*/ 359 w 428"/>
                    <a:gd name="T87" fmla="*/ 235 h 456"/>
                    <a:gd name="T88" fmla="*/ 383 w 428"/>
                    <a:gd name="T89" fmla="*/ 207 h 456"/>
                    <a:gd name="T90" fmla="*/ 402 w 428"/>
                    <a:gd name="T91" fmla="*/ 193 h 456"/>
                    <a:gd name="T92" fmla="*/ 409 w 428"/>
                    <a:gd name="T93" fmla="*/ 183 h 456"/>
                    <a:gd name="T94" fmla="*/ 411 w 428"/>
                    <a:gd name="T95" fmla="*/ 169 h 456"/>
                    <a:gd name="T96" fmla="*/ 415 w 428"/>
                    <a:gd name="T97" fmla="*/ 161 h 456"/>
                    <a:gd name="T98" fmla="*/ 422 w 428"/>
                    <a:gd name="T99" fmla="*/ 152 h 456"/>
                    <a:gd name="T100" fmla="*/ 428 w 428"/>
                    <a:gd name="T101" fmla="*/ 155 h 456"/>
                    <a:gd name="T102" fmla="*/ 416 w 428"/>
                    <a:gd name="T103" fmla="*/ 193 h 456"/>
                    <a:gd name="T104" fmla="*/ 409 w 428"/>
                    <a:gd name="T105" fmla="*/ 209 h 456"/>
                    <a:gd name="T106" fmla="*/ 399 w 428"/>
                    <a:gd name="T107" fmla="*/ 236 h 456"/>
                    <a:gd name="T108" fmla="*/ 399 w 428"/>
                    <a:gd name="T109" fmla="*/ 267 h 456"/>
                    <a:gd name="T110" fmla="*/ 387 w 428"/>
                    <a:gd name="T111" fmla="*/ 283 h 456"/>
                    <a:gd name="T112" fmla="*/ 391 w 428"/>
                    <a:gd name="T113" fmla="*/ 322 h 456"/>
                    <a:gd name="T114" fmla="*/ 379 w 428"/>
                    <a:gd name="T115" fmla="*/ 353 h 456"/>
                    <a:gd name="T116" fmla="*/ 394 w 428"/>
                    <a:gd name="T117" fmla="*/ 416 h 456"/>
                    <a:gd name="T118" fmla="*/ 393 w 428"/>
                    <a:gd name="T119" fmla="*/ 426 h 456"/>
                    <a:gd name="T120" fmla="*/ 393 w 428"/>
                    <a:gd name="T121" fmla="*/ 441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456">
                      <a:moveTo>
                        <a:pt x="182" y="456"/>
                      </a:moveTo>
                      <a:lnTo>
                        <a:pt x="179" y="446"/>
                      </a:lnTo>
                      <a:lnTo>
                        <a:pt x="171" y="440"/>
                      </a:lnTo>
                      <a:lnTo>
                        <a:pt x="148" y="432"/>
                      </a:lnTo>
                      <a:lnTo>
                        <a:pt x="141" y="404"/>
                      </a:lnTo>
                      <a:lnTo>
                        <a:pt x="137" y="391"/>
                      </a:lnTo>
                      <a:lnTo>
                        <a:pt x="143" y="381"/>
                      </a:lnTo>
                      <a:lnTo>
                        <a:pt x="143" y="375"/>
                      </a:lnTo>
                      <a:lnTo>
                        <a:pt x="135" y="367"/>
                      </a:lnTo>
                      <a:lnTo>
                        <a:pt x="131" y="354"/>
                      </a:lnTo>
                      <a:lnTo>
                        <a:pt x="128" y="336"/>
                      </a:lnTo>
                      <a:lnTo>
                        <a:pt x="129" y="323"/>
                      </a:lnTo>
                      <a:lnTo>
                        <a:pt x="126" y="317"/>
                      </a:lnTo>
                      <a:lnTo>
                        <a:pt x="103" y="301"/>
                      </a:lnTo>
                      <a:lnTo>
                        <a:pt x="83" y="286"/>
                      </a:lnTo>
                      <a:lnTo>
                        <a:pt x="75" y="270"/>
                      </a:lnTo>
                      <a:lnTo>
                        <a:pt x="53" y="260"/>
                      </a:lnTo>
                      <a:lnTo>
                        <a:pt x="48" y="257"/>
                      </a:lnTo>
                      <a:lnTo>
                        <a:pt x="47" y="252"/>
                      </a:lnTo>
                      <a:lnTo>
                        <a:pt x="44" y="250"/>
                      </a:lnTo>
                      <a:lnTo>
                        <a:pt x="25" y="247"/>
                      </a:lnTo>
                      <a:lnTo>
                        <a:pt x="23" y="242"/>
                      </a:lnTo>
                      <a:lnTo>
                        <a:pt x="15" y="236"/>
                      </a:lnTo>
                      <a:lnTo>
                        <a:pt x="11" y="231"/>
                      </a:lnTo>
                      <a:lnTo>
                        <a:pt x="11" y="204"/>
                      </a:lnTo>
                      <a:lnTo>
                        <a:pt x="13" y="187"/>
                      </a:lnTo>
                      <a:lnTo>
                        <a:pt x="12" y="176"/>
                      </a:lnTo>
                      <a:lnTo>
                        <a:pt x="19" y="164"/>
                      </a:lnTo>
                      <a:lnTo>
                        <a:pt x="11" y="152"/>
                      </a:lnTo>
                      <a:lnTo>
                        <a:pt x="0" y="146"/>
                      </a:lnTo>
                      <a:lnTo>
                        <a:pt x="6" y="131"/>
                      </a:lnTo>
                      <a:lnTo>
                        <a:pt x="8" y="128"/>
                      </a:lnTo>
                      <a:lnTo>
                        <a:pt x="9" y="120"/>
                      </a:lnTo>
                      <a:lnTo>
                        <a:pt x="30" y="103"/>
                      </a:lnTo>
                      <a:lnTo>
                        <a:pt x="36" y="100"/>
                      </a:lnTo>
                      <a:lnTo>
                        <a:pt x="42" y="93"/>
                      </a:lnTo>
                      <a:lnTo>
                        <a:pt x="40" y="38"/>
                      </a:lnTo>
                      <a:lnTo>
                        <a:pt x="45" y="33"/>
                      </a:lnTo>
                      <a:lnTo>
                        <a:pt x="51" y="26"/>
                      </a:lnTo>
                      <a:lnTo>
                        <a:pt x="58" y="30"/>
                      </a:lnTo>
                      <a:lnTo>
                        <a:pt x="67" y="32"/>
                      </a:lnTo>
                      <a:lnTo>
                        <a:pt x="79" y="31"/>
                      </a:lnTo>
                      <a:lnTo>
                        <a:pt x="99" y="20"/>
                      </a:lnTo>
                      <a:lnTo>
                        <a:pt x="135" y="1"/>
                      </a:lnTo>
                      <a:lnTo>
                        <a:pt x="141" y="0"/>
                      </a:lnTo>
                      <a:lnTo>
                        <a:pt x="143" y="4"/>
                      </a:lnTo>
                      <a:lnTo>
                        <a:pt x="143" y="12"/>
                      </a:lnTo>
                      <a:lnTo>
                        <a:pt x="140" y="17"/>
                      </a:lnTo>
                      <a:lnTo>
                        <a:pt x="140" y="22"/>
                      </a:lnTo>
                      <a:lnTo>
                        <a:pt x="136" y="36"/>
                      </a:lnTo>
                      <a:lnTo>
                        <a:pt x="150" y="30"/>
                      </a:lnTo>
                      <a:lnTo>
                        <a:pt x="157" y="30"/>
                      </a:lnTo>
                      <a:lnTo>
                        <a:pt x="166" y="38"/>
                      </a:lnTo>
                      <a:lnTo>
                        <a:pt x="174" y="36"/>
                      </a:lnTo>
                      <a:lnTo>
                        <a:pt x="178" y="42"/>
                      </a:lnTo>
                      <a:lnTo>
                        <a:pt x="188" y="44"/>
                      </a:lnTo>
                      <a:lnTo>
                        <a:pt x="193" y="48"/>
                      </a:lnTo>
                      <a:lnTo>
                        <a:pt x="196" y="60"/>
                      </a:lnTo>
                      <a:lnTo>
                        <a:pt x="201" y="62"/>
                      </a:lnTo>
                      <a:lnTo>
                        <a:pt x="268" y="76"/>
                      </a:lnTo>
                      <a:lnTo>
                        <a:pt x="276" y="76"/>
                      </a:lnTo>
                      <a:lnTo>
                        <a:pt x="291" y="88"/>
                      </a:lnTo>
                      <a:lnTo>
                        <a:pt x="300" y="88"/>
                      </a:lnTo>
                      <a:lnTo>
                        <a:pt x="303" y="91"/>
                      </a:lnTo>
                      <a:lnTo>
                        <a:pt x="307" y="88"/>
                      </a:lnTo>
                      <a:lnTo>
                        <a:pt x="311" y="88"/>
                      </a:lnTo>
                      <a:lnTo>
                        <a:pt x="328" y="91"/>
                      </a:lnTo>
                      <a:lnTo>
                        <a:pt x="339" y="94"/>
                      </a:lnTo>
                      <a:lnTo>
                        <a:pt x="343" y="98"/>
                      </a:lnTo>
                      <a:lnTo>
                        <a:pt x="341" y="100"/>
                      </a:lnTo>
                      <a:lnTo>
                        <a:pt x="340" y="104"/>
                      </a:lnTo>
                      <a:lnTo>
                        <a:pt x="351" y="107"/>
                      </a:lnTo>
                      <a:lnTo>
                        <a:pt x="364" y="113"/>
                      </a:lnTo>
                      <a:lnTo>
                        <a:pt x="366" y="123"/>
                      </a:lnTo>
                      <a:lnTo>
                        <a:pt x="362" y="148"/>
                      </a:lnTo>
                      <a:lnTo>
                        <a:pt x="364" y="149"/>
                      </a:lnTo>
                      <a:lnTo>
                        <a:pt x="377" y="147"/>
                      </a:lnTo>
                      <a:lnTo>
                        <a:pt x="379" y="148"/>
                      </a:lnTo>
                      <a:lnTo>
                        <a:pt x="377" y="154"/>
                      </a:lnTo>
                      <a:lnTo>
                        <a:pt x="373" y="158"/>
                      </a:lnTo>
                      <a:lnTo>
                        <a:pt x="376" y="170"/>
                      </a:lnTo>
                      <a:lnTo>
                        <a:pt x="387" y="176"/>
                      </a:lnTo>
                      <a:lnTo>
                        <a:pt x="386" y="178"/>
                      </a:lnTo>
                      <a:lnTo>
                        <a:pt x="371" y="193"/>
                      </a:lnTo>
                      <a:lnTo>
                        <a:pt x="361" y="212"/>
                      </a:lnTo>
                      <a:lnTo>
                        <a:pt x="358" y="226"/>
                      </a:lnTo>
                      <a:lnTo>
                        <a:pt x="356" y="232"/>
                      </a:lnTo>
                      <a:lnTo>
                        <a:pt x="359" y="235"/>
                      </a:lnTo>
                      <a:lnTo>
                        <a:pt x="371" y="229"/>
                      </a:lnTo>
                      <a:lnTo>
                        <a:pt x="383" y="207"/>
                      </a:lnTo>
                      <a:lnTo>
                        <a:pt x="395" y="196"/>
                      </a:lnTo>
                      <a:lnTo>
                        <a:pt x="402" y="193"/>
                      </a:lnTo>
                      <a:lnTo>
                        <a:pt x="403" y="188"/>
                      </a:lnTo>
                      <a:lnTo>
                        <a:pt x="409" y="183"/>
                      </a:lnTo>
                      <a:lnTo>
                        <a:pt x="412" y="176"/>
                      </a:lnTo>
                      <a:lnTo>
                        <a:pt x="411" y="169"/>
                      </a:lnTo>
                      <a:lnTo>
                        <a:pt x="412" y="164"/>
                      </a:lnTo>
                      <a:lnTo>
                        <a:pt x="415" y="161"/>
                      </a:lnTo>
                      <a:lnTo>
                        <a:pt x="419" y="155"/>
                      </a:lnTo>
                      <a:lnTo>
                        <a:pt x="422" y="152"/>
                      </a:lnTo>
                      <a:lnTo>
                        <a:pt x="426" y="151"/>
                      </a:lnTo>
                      <a:lnTo>
                        <a:pt x="428" y="155"/>
                      </a:lnTo>
                      <a:lnTo>
                        <a:pt x="427" y="168"/>
                      </a:lnTo>
                      <a:lnTo>
                        <a:pt x="416" y="193"/>
                      </a:lnTo>
                      <a:lnTo>
                        <a:pt x="411" y="200"/>
                      </a:lnTo>
                      <a:lnTo>
                        <a:pt x="409" y="209"/>
                      </a:lnTo>
                      <a:lnTo>
                        <a:pt x="409" y="215"/>
                      </a:lnTo>
                      <a:lnTo>
                        <a:pt x="399" y="236"/>
                      </a:lnTo>
                      <a:lnTo>
                        <a:pt x="399" y="254"/>
                      </a:lnTo>
                      <a:lnTo>
                        <a:pt x="399" y="267"/>
                      </a:lnTo>
                      <a:lnTo>
                        <a:pt x="389" y="276"/>
                      </a:lnTo>
                      <a:lnTo>
                        <a:pt x="387" y="283"/>
                      </a:lnTo>
                      <a:lnTo>
                        <a:pt x="390" y="297"/>
                      </a:lnTo>
                      <a:lnTo>
                        <a:pt x="391" y="322"/>
                      </a:lnTo>
                      <a:lnTo>
                        <a:pt x="387" y="328"/>
                      </a:lnTo>
                      <a:lnTo>
                        <a:pt x="379" y="353"/>
                      </a:lnTo>
                      <a:lnTo>
                        <a:pt x="383" y="391"/>
                      </a:lnTo>
                      <a:lnTo>
                        <a:pt x="394" y="416"/>
                      </a:lnTo>
                      <a:lnTo>
                        <a:pt x="391" y="420"/>
                      </a:lnTo>
                      <a:lnTo>
                        <a:pt x="393" y="426"/>
                      </a:lnTo>
                      <a:lnTo>
                        <a:pt x="392" y="430"/>
                      </a:lnTo>
                      <a:lnTo>
                        <a:pt x="393" y="441"/>
                      </a:lnTo>
                      <a:lnTo>
                        <a:pt x="182" y="456"/>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5" name="Freeform 40">
                  <a:extLst>
                    <a:ext uri="{FF2B5EF4-FFF2-40B4-BE49-F238E27FC236}">
                      <a16:creationId xmlns:a16="http://schemas.microsoft.com/office/drawing/2014/main" id="{92E4D0DE-D4C4-49B0-8259-A5B5602B409A}"/>
                    </a:ext>
                  </a:extLst>
                </p:cNvPr>
                <p:cNvSpPr>
                  <a:spLocks/>
                </p:cNvSpPr>
                <p:nvPr/>
              </p:nvSpPr>
              <p:spPr bwMode="auto">
                <a:xfrm>
                  <a:off x="4173" y="1308"/>
                  <a:ext cx="453" cy="223"/>
                </a:xfrm>
                <a:custGeom>
                  <a:avLst/>
                  <a:gdLst>
                    <a:gd name="T0" fmla="*/ 21 w 493"/>
                    <a:gd name="T1" fmla="*/ 94 h 243"/>
                    <a:gd name="T2" fmla="*/ 46 w 493"/>
                    <a:gd name="T3" fmla="*/ 77 h 243"/>
                    <a:gd name="T4" fmla="*/ 115 w 493"/>
                    <a:gd name="T5" fmla="*/ 33 h 243"/>
                    <a:gd name="T6" fmla="*/ 154 w 493"/>
                    <a:gd name="T7" fmla="*/ 4 h 243"/>
                    <a:gd name="T8" fmla="*/ 181 w 493"/>
                    <a:gd name="T9" fmla="*/ 4 h 243"/>
                    <a:gd name="T10" fmla="*/ 162 w 493"/>
                    <a:gd name="T11" fmla="*/ 23 h 243"/>
                    <a:gd name="T12" fmla="*/ 136 w 493"/>
                    <a:gd name="T13" fmla="*/ 51 h 243"/>
                    <a:gd name="T14" fmla="*/ 138 w 493"/>
                    <a:gd name="T15" fmla="*/ 70 h 243"/>
                    <a:gd name="T16" fmla="*/ 165 w 493"/>
                    <a:gd name="T17" fmla="*/ 59 h 243"/>
                    <a:gd name="T18" fmla="*/ 233 w 493"/>
                    <a:gd name="T19" fmla="*/ 92 h 243"/>
                    <a:gd name="T20" fmla="*/ 254 w 493"/>
                    <a:gd name="T21" fmla="*/ 97 h 243"/>
                    <a:gd name="T22" fmla="*/ 263 w 493"/>
                    <a:gd name="T23" fmla="*/ 102 h 243"/>
                    <a:gd name="T24" fmla="*/ 290 w 493"/>
                    <a:gd name="T25" fmla="*/ 78 h 243"/>
                    <a:gd name="T26" fmla="*/ 379 w 493"/>
                    <a:gd name="T27" fmla="*/ 50 h 243"/>
                    <a:gd name="T28" fmla="*/ 377 w 493"/>
                    <a:gd name="T29" fmla="*/ 68 h 243"/>
                    <a:gd name="T30" fmla="*/ 393 w 493"/>
                    <a:gd name="T31" fmla="*/ 83 h 243"/>
                    <a:gd name="T32" fmla="*/ 429 w 493"/>
                    <a:gd name="T33" fmla="*/ 79 h 243"/>
                    <a:gd name="T34" fmla="*/ 453 w 493"/>
                    <a:gd name="T35" fmla="*/ 107 h 243"/>
                    <a:gd name="T36" fmla="*/ 489 w 493"/>
                    <a:gd name="T37" fmla="*/ 110 h 243"/>
                    <a:gd name="T38" fmla="*/ 487 w 493"/>
                    <a:gd name="T39" fmla="*/ 126 h 243"/>
                    <a:gd name="T40" fmla="*/ 469 w 493"/>
                    <a:gd name="T41" fmla="*/ 123 h 243"/>
                    <a:gd name="T42" fmla="*/ 449 w 493"/>
                    <a:gd name="T43" fmla="*/ 126 h 243"/>
                    <a:gd name="T44" fmla="*/ 414 w 493"/>
                    <a:gd name="T45" fmla="*/ 126 h 243"/>
                    <a:gd name="T46" fmla="*/ 410 w 493"/>
                    <a:gd name="T47" fmla="*/ 142 h 243"/>
                    <a:gd name="T48" fmla="*/ 369 w 493"/>
                    <a:gd name="T49" fmla="*/ 127 h 243"/>
                    <a:gd name="T50" fmla="*/ 338 w 493"/>
                    <a:gd name="T51" fmla="*/ 139 h 243"/>
                    <a:gd name="T52" fmla="*/ 325 w 493"/>
                    <a:gd name="T53" fmla="*/ 147 h 243"/>
                    <a:gd name="T54" fmla="*/ 299 w 493"/>
                    <a:gd name="T55" fmla="*/ 148 h 243"/>
                    <a:gd name="T56" fmla="*/ 273 w 493"/>
                    <a:gd name="T57" fmla="*/ 182 h 243"/>
                    <a:gd name="T58" fmla="*/ 277 w 493"/>
                    <a:gd name="T59" fmla="*/ 164 h 243"/>
                    <a:gd name="T60" fmla="*/ 259 w 493"/>
                    <a:gd name="T61" fmla="*/ 171 h 243"/>
                    <a:gd name="T62" fmla="*/ 248 w 493"/>
                    <a:gd name="T63" fmla="*/ 159 h 243"/>
                    <a:gd name="T64" fmla="*/ 235 w 493"/>
                    <a:gd name="T65" fmla="*/ 189 h 243"/>
                    <a:gd name="T66" fmla="*/ 215 w 493"/>
                    <a:gd name="T67" fmla="*/ 228 h 243"/>
                    <a:gd name="T68" fmla="*/ 202 w 493"/>
                    <a:gd name="T69" fmla="*/ 237 h 243"/>
                    <a:gd name="T70" fmla="*/ 205 w 493"/>
                    <a:gd name="T71" fmla="*/ 215 h 243"/>
                    <a:gd name="T72" fmla="*/ 188 w 493"/>
                    <a:gd name="T73" fmla="*/ 215 h 243"/>
                    <a:gd name="T74" fmla="*/ 177 w 493"/>
                    <a:gd name="T75" fmla="*/ 174 h 243"/>
                    <a:gd name="T76" fmla="*/ 169 w 493"/>
                    <a:gd name="T77" fmla="*/ 165 h 243"/>
                    <a:gd name="T78" fmla="*/ 137 w 493"/>
                    <a:gd name="T79" fmla="*/ 155 h 243"/>
                    <a:gd name="T80" fmla="*/ 126 w 493"/>
                    <a:gd name="T81" fmla="*/ 155 h 243"/>
                    <a:gd name="T82" fmla="*/ 94 w 493"/>
                    <a:gd name="T83" fmla="*/ 143 h 243"/>
                    <a:gd name="T84" fmla="*/ 19 w 493"/>
                    <a:gd name="T85" fmla="*/ 115 h 243"/>
                    <a:gd name="T86" fmla="*/ 0 w 493"/>
                    <a:gd name="T87" fmla="*/ 1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3" h="243">
                      <a:moveTo>
                        <a:pt x="0" y="103"/>
                      </a:moveTo>
                      <a:lnTo>
                        <a:pt x="14" y="99"/>
                      </a:lnTo>
                      <a:lnTo>
                        <a:pt x="21" y="94"/>
                      </a:lnTo>
                      <a:lnTo>
                        <a:pt x="37" y="85"/>
                      </a:lnTo>
                      <a:lnTo>
                        <a:pt x="40" y="78"/>
                      </a:lnTo>
                      <a:lnTo>
                        <a:pt x="46" y="77"/>
                      </a:lnTo>
                      <a:lnTo>
                        <a:pt x="73" y="67"/>
                      </a:lnTo>
                      <a:lnTo>
                        <a:pt x="93" y="56"/>
                      </a:lnTo>
                      <a:lnTo>
                        <a:pt x="115" y="33"/>
                      </a:lnTo>
                      <a:lnTo>
                        <a:pt x="123" y="31"/>
                      </a:lnTo>
                      <a:lnTo>
                        <a:pt x="141" y="11"/>
                      </a:lnTo>
                      <a:lnTo>
                        <a:pt x="154" y="4"/>
                      </a:lnTo>
                      <a:lnTo>
                        <a:pt x="175" y="0"/>
                      </a:lnTo>
                      <a:lnTo>
                        <a:pt x="181" y="2"/>
                      </a:lnTo>
                      <a:lnTo>
                        <a:pt x="181" y="4"/>
                      </a:lnTo>
                      <a:lnTo>
                        <a:pt x="170" y="12"/>
                      </a:lnTo>
                      <a:lnTo>
                        <a:pt x="167" y="13"/>
                      </a:lnTo>
                      <a:lnTo>
                        <a:pt x="162" y="23"/>
                      </a:lnTo>
                      <a:lnTo>
                        <a:pt x="147" y="39"/>
                      </a:lnTo>
                      <a:lnTo>
                        <a:pt x="140" y="46"/>
                      </a:lnTo>
                      <a:lnTo>
                        <a:pt x="136" y="51"/>
                      </a:lnTo>
                      <a:lnTo>
                        <a:pt x="133" y="66"/>
                      </a:lnTo>
                      <a:lnTo>
                        <a:pt x="136" y="75"/>
                      </a:lnTo>
                      <a:lnTo>
                        <a:pt x="138" y="70"/>
                      </a:lnTo>
                      <a:lnTo>
                        <a:pt x="151" y="59"/>
                      </a:lnTo>
                      <a:lnTo>
                        <a:pt x="160" y="60"/>
                      </a:lnTo>
                      <a:lnTo>
                        <a:pt x="165" y="59"/>
                      </a:lnTo>
                      <a:lnTo>
                        <a:pt x="193" y="71"/>
                      </a:lnTo>
                      <a:lnTo>
                        <a:pt x="216" y="95"/>
                      </a:lnTo>
                      <a:lnTo>
                        <a:pt x="233" y="92"/>
                      </a:lnTo>
                      <a:lnTo>
                        <a:pt x="242" y="94"/>
                      </a:lnTo>
                      <a:lnTo>
                        <a:pt x="249" y="97"/>
                      </a:lnTo>
                      <a:lnTo>
                        <a:pt x="254" y="97"/>
                      </a:lnTo>
                      <a:lnTo>
                        <a:pt x="257" y="96"/>
                      </a:lnTo>
                      <a:lnTo>
                        <a:pt x="263" y="99"/>
                      </a:lnTo>
                      <a:lnTo>
                        <a:pt x="263" y="102"/>
                      </a:lnTo>
                      <a:lnTo>
                        <a:pt x="267" y="99"/>
                      </a:lnTo>
                      <a:lnTo>
                        <a:pt x="270" y="92"/>
                      </a:lnTo>
                      <a:lnTo>
                        <a:pt x="290" y="78"/>
                      </a:lnTo>
                      <a:lnTo>
                        <a:pt x="354" y="62"/>
                      </a:lnTo>
                      <a:lnTo>
                        <a:pt x="371" y="52"/>
                      </a:lnTo>
                      <a:lnTo>
                        <a:pt x="379" y="50"/>
                      </a:lnTo>
                      <a:lnTo>
                        <a:pt x="382" y="54"/>
                      </a:lnTo>
                      <a:lnTo>
                        <a:pt x="377" y="63"/>
                      </a:lnTo>
                      <a:lnTo>
                        <a:pt x="377" y="68"/>
                      </a:lnTo>
                      <a:lnTo>
                        <a:pt x="385" y="83"/>
                      </a:lnTo>
                      <a:lnTo>
                        <a:pt x="390" y="85"/>
                      </a:lnTo>
                      <a:lnTo>
                        <a:pt x="393" y="83"/>
                      </a:lnTo>
                      <a:lnTo>
                        <a:pt x="404" y="83"/>
                      </a:lnTo>
                      <a:lnTo>
                        <a:pt x="409" y="81"/>
                      </a:lnTo>
                      <a:lnTo>
                        <a:pt x="429" y="79"/>
                      </a:lnTo>
                      <a:lnTo>
                        <a:pt x="437" y="84"/>
                      </a:lnTo>
                      <a:lnTo>
                        <a:pt x="446" y="100"/>
                      </a:lnTo>
                      <a:lnTo>
                        <a:pt x="453" y="107"/>
                      </a:lnTo>
                      <a:lnTo>
                        <a:pt x="468" y="114"/>
                      </a:lnTo>
                      <a:lnTo>
                        <a:pt x="485" y="110"/>
                      </a:lnTo>
                      <a:lnTo>
                        <a:pt x="489" y="110"/>
                      </a:lnTo>
                      <a:lnTo>
                        <a:pt x="493" y="114"/>
                      </a:lnTo>
                      <a:lnTo>
                        <a:pt x="493" y="119"/>
                      </a:lnTo>
                      <a:lnTo>
                        <a:pt x="487" y="126"/>
                      </a:lnTo>
                      <a:lnTo>
                        <a:pt x="477" y="127"/>
                      </a:lnTo>
                      <a:lnTo>
                        <a:pt x="471" y="126"/>
                      </a:lnTo>
                      <a:lnTo>
                        <a:pt x="469" y="123"/>
                      </a:lnTo>
                      <a:lnTo>
                        <a:pt x="466" y="123"/>
                      </a:lnTo>
                      <a:lnTo>
                        <a:pt x="456" y="128"/>
                      </a:lnTo>
                      <a:lnTo>
                        <a:pt x="449" y="126"/>
                      </a:lnTo>
                      <a:lnTo>
                        <a:pt x="442" y="125"/>
                      </a:lnTo>
                      <a:lnTo>
                        <a:pt x="425" y="129"/>
                      </a:lnTo>
                      <a:lnTo>
                        <a:pt x="414" y="126"/>
                      </a:lnTo>
                      <a:lnTo>
                        <a:pt x="410" y="129"/>
                      </a:lnTo>
                      <a:lnTo>
                        <a:pt x="413" y="139"/>
                      </a:lnTo>
                      <a:lnTo>
                        <a:pt x="410" y="142"/>
                      </a:lnTo>
                      <a:lnTo>
                        <a:pt x="405" y="140"/>
                      </a:lnTo>
                      <a:lnTo>
                        <a:pt x="395" y="131"/>
                      </a:lnTo>
                      <a:lnTo>
                        <a:pt x="369" y="127"/>
                      </a:lnTo>
                      <a:lnTo>
                        <a:pt x="363" y="129"/>
                      </a:lnTo>
                      <a:lnTo>
                        <a:pt x="357" y="126"/>
                      </a:lnTo>
                      <a:lnTo>
                        <a:pt x="338" y="139"/>
                      </a:lnTo>
                      <a:lnTo>
                        <a:pt x="334" y="139"/>
                      </a:lnTo>
                      <a:lnTo>
                        <a:pt x="327" y="143"/>
                      </a:lnTo>
                      <a:lnTo>
                        <a:pt x="325" y="147"/>
                      </a:lnTo>
                      <a:lnTo>
                        <a:pt x="321" y="148"/>
                      </a:lnTo>
                      <a:lnTo>
                        <a:pt x="310" y="146"/>
                      </a:lnTo>
                      <a:lnTo>
                        <a:pt x="299" y="148"/>
                      </a:lnTo>
                      <a:lnTo>
                        <a:pt x="298" y="157"/>
                      </a:lnTo>
                      <a:lnTo>
                        <a:pt x="296" y="162"/>
                      </a:lnTo>
                      <a:lnTo>
                        <a:pt x="273" y="182"/>
                      </a:lnTo>
                      <a:lnTo>
                        <a:pt x="269" y="180"/>
                      </a:lnTo>
                      <a:lnTo>
                        <a:pt x="267" y="177"/>
                      </a:lnTo>
                      <a:lnTo>
                        <a:pt x="277" y="164"/>
                      </a:lnTo>
                      <a:lnTo>
                        <a:pt x="277" y="158"/>
                      </a:lnTo>
                      <a:lnTo>
                        <a:pt x="264" y="159"/>
                      </a:lnTo>
                      <a:lnTo>
                        <a:pt x="259" y="171"/>
                      </a:lnTo>
                      <a:lnTo>
                        <a:pt x="254" y="175"/>
                      </a:lnTo>
                      <a:lnTo>
                        <a:pt x="249" y="170"/>
                      </a:lnTo>
                      <a:lnTo>
                        <a:pt x="248" y="159"/>
                      </a:lnTo>
                      <a:lnTo>
                        <a:pt x="245" y="160"/>
                      </a:lnTo>
                      <a:lnTo>
                        <a:pt x="243" y="175"/>
                      </a:lnTo>
                      <a:lnTo>
                        <a:pt x="235" y="189"/>
                      </a:lnTo>
                      <a:lnTo>
                        <a:pt x="230" y="203"/>
                      </a:lnTo>
                      <a:lnTo>
                        <a:pt x="225" y="212"/>
                      </a:lnTo>
                      <a:lnTo>
                        <a:pt x="215" y="228"/>
                      </a:lnTo>
                      <a:lnTo>
                        <a:pt x="215" y="239"/>
                      </a:lnTo>
                      <a:lnTo>
                        <a:pt x="213" y="243"/>
                      </a:lnTo>
                      <a:lnTo>
                        <a:pt x="202" y="237"/>
                      </a:lnTo>
                      <a:lnTo>
                        <a:pt x="199" y="225"/>
                      </a:lnTo>
                      <a:lnTo>
                        <a:pt x="203" y="221"/>
                      </a:lnTo>
                      <a:lnTo>
                        <a:pt x="205" y="215"/>
                      </a:lnTo>
                      <a:lnTo>
                        <a:pt x="203" y="214"/>
                      </a:lnTo>
                      <a:lnTo>
                        <a:pt x="190" y="216"/>
                      </a:lnTo>
                      <a:lnTo>
                        <a:pt x="188" y="215"/>
                      </a:lnTo>
                      <a:lnTo>
                        <a:pt x="192" y="190"/>
                      </a:lnTo>
                      <a:lnTo>
                        <a:pt x="190" y="180"/>
                      </a:lnTo>
                      <a:lnTo>
                        <a:pt x="177" y="174"/>
                      </a:lnTo>
                      <a:lnTo>
                        <a:pt x="166" y="171"/>
                      </a:lnTo>
                      <a:lnTo>
                        <a:pt x="167" y="167"/>
                      </a:lnTo>
                      <a:lnTo>
                        <a:pt x="169" y="165"/>
                      </a:lnTo>
                      <a:lnTo>
                        <a:pt x="165" y="161"/>
                      </a:lnTo>
                      <a:lnTo>
                        <a:pt x="154" y="158"/>
                      </a:lnTo>
                      <a:lnTo>
                        <a:pt x="137" y="155"/>
                      </a:lnTo>
                      <a:lnTo>
                        <a:pt x="133" y="155"/>
                      </a:lnTo>
                      <a:lnTo>
                        <a:pt x="129" y="158"/>
                      </a:lnTo>
                      <a:lnTo>
                        <a:pt x="126" y="155"/>
                      </a:lnTo>
                      <a:lnTo>
                        <a:pt x="117" y="155"/>
                      </a:lnTo>
                      <a:lnTo>
                        <a:pt x="102" y="143"/>
                      </a:lnTo>
                      <a:lnTo>
                        <a:pt x="94" y="143"/>
                      </a:lnTo>
                      <a:lnTo>
                        <a:pt x="27" y="129"/>
                      </a:lnTo>
                      <a:lnTo>
                        <a:pt x="22" y="127"/>
                      </a:lnTo>
                      <a:lnTo>
                        <a:pt x="19" y="115"/>
                      </a:lnTo>
                      <a:lnTo>
                        <a:pt x="14" y="111"/>
                      </a:lnTo>
                      <a:lnTo>
                        <a:pt x="4" y="109"/>
                      </a:lnTo>
                      <a:lnTo>
                        <a:pt x="0" y="103"/>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6" name="Freeform 41">
                  <a:extLst>
                    <a:ext uri="{FF2B5EF4-FFF2-40B4-BE49-F238E27FC236}">
                      <a16:creationId xmlns:a16="http://schemas.microsoft.com/office/drawing/2014/main" id="{C4773771-37FF-4479-A357-FE1CB587F545}"/>
                    </a:ext>
                  </a:extLst>
                </p:cNvPr>
                <p:cNvSpPr>
                  <a:spLocks/>
                </p:cNvSpPr>
                <p:nvPr/>
              </p:nvSpPr>
              <p:spPr bwMode="auto">
                <a:xfrm>
                  <a:off x="4446" y="1443"/>
                  <a:ext cx="289" cy="397"/>
                </a:xfrm>
                <a:custGeom>
                  <a:avLst/>
                  <a:gdLst>
                    <a:gd name="T0" fmla="*/ 156 w 315"/>
                    <a:gd name="T1" fmla="*/ 413 h 433"/>
                    <a:gd name="T2" fmla="*/ 256 w 315"/>
                    <a:gd name="T3" fmla="*/ 405 h 433"/>
                    <a:gd name="T4" fmla="*/ 270 w 315"/>
                    <a:gd name="T5" fmla="*/ 376 h 433"/>
                    <a:gd name="T6" fmla="*/ 274 w 315"/>
                    <a:gd name="T7" fmla="*/ 353 h 433"/>
                    <a:gd name="T8" fmla="*/ 291 w 315"/>
                    <a:gd name="T9" fmla="*/ 330 h 433"/>
                    <a:gd name="T10" fmla="*/ 293 w 315"/>
                    <a:gd name="T11" fmla="*/ 314 h 433"/>
                    <a:gd name="T12" fmla="*/ 300 w 315"/>
                    <a:gd name="T13" fmla="*/ 300 h 433"/>
                    <a:gd name="T14" fmla="*/ 306 w 315"/>
                    <a:gd name="T15" fmla="*/ 308 h 433"/>
                    <a:gd name="T16" fmla="*/ 313 w 315"/>
                    <a:gd name="T17" fmla="*/ 302 h 433"/>
                    <a:gd name="T18" fmla="*/ 312 w 315"/>
                    <a:gd name="T19" fmla="*/ 281 h 433"/>
                    <a:gd name="T20" fmla="*/ 309 w 315"/>
                    <a:gd name="T21" fmla="*/ 252 h 433"/>
                    <a:gd name="T22" fmla="*/ 284 w 315"/>
                    <a:gd name="T23" fmla="*/ 169 h 433"/>
                    <a:gd name="T24" fmla="*/ 252 w 315"/>
                    <a:gd name="T25" fmla="*/ 168 h 433"/>
                    <a:gd name="T26" fmla="*/ 216 w 315"/>
                    <a:gd name="T27" fmla="*/ 217 h 433"/>
                    <a:gd name="T28" fmla="*/ 211 w 315"/>
                    <a:gd name="T29" fmla="*/ 216 h 433"/>
                    <a:gd name="T30" fmla="*/ 197 w 315"/>
                    <a:gd name="T31" fmla="*/ 208 h 433"/>
                    <a:gd name="T32" fmla="*/ 196 w 315"/>
                    <a:gd name="T33" fmla="*/ 184 h 433"/>
                    <a:gd name="T34" fmla="*/ 214 w 315"/>
                    <a:gd name="T35" fmla="*/ 168 h 433"/>
                    <a:gd name="T36" fmla="*/ 218 w 315"/>
                    <a:gd name="T37" fmla="*/ 156 h 433"/>
                    <a:gd name="T38" fmla="*/ 226 w 315"/>
                    <a:gd name="T39" fmla="*/ 145 h 433"/>
                    <a:gd name="T40" fmla="*/ 232 w 315"/>
                    <a:gd name="T41" fmla="*/ 107 h 433"/>
                    <a:gd name="T42" fmla="*/ 224 w 315"/>
                    <a:gd name="T43" fmla="*/ 87 h 433"/>
                    <a:gd name="T44" fmla="*/ 213 w 315"/>
                    <a:gd name="T45" fmla="*/ 72 h 433"/>
                    <a:gd name="T46" fmla="*/ 224 w 315"/>
                    <a:gd name="T47" fmla="*/ 63 h 433"/>
                    <a:gd name="T48" fmla="*/ 215 w 315"/>
                    <a:gd name="T49" fmla="*/ 42 h 433"/>
                    <a:gd name="T50" fmla="*/ 180 w 315"/>
                    <a:gd name="T51" fmla="*/ 27 h 433"/>
                    <a:gd name="T52" fmla="*/ 154 w 315"/>
                    <a:gd name="T53" fmla="*/ 16 h 433"/>
                    <a:gd name="T54" fmla="*/ 124 w 315"/>
                    <a:gd name="T55" fmla="*/ 8 h 433"/>
                    <a:gd name="T56" fmla="*/ 108 w 315"/>
                    <a:gd name="T57" fmla="*/ 6 h 433"/>
                    <a:gd name="T58" fmla="*/ 92 w 315"/>
                    <a:gd name="T59" fmla="*/ 24 h 433"/>
                    <a:gd name="T60" fmla="*/ 93 w 315"/>
                    <a:gd name="T61" fmla="*/ 40 h 433"/>
                    <a:gd name="T62" fmla="*/ 98 w 315"/>
                    <a:gd name="T63" fmla="*/ 44 h 433"/>
                    <a:gd name="T64" fmla="*/ 88 w 315"/>
                    <a:gd name="T65" fmla="*/ 49 h 433"/>
                    <a:gd name="T66" fmla="*/ 78 w 315"/>
                    <a:gd name="T67" fmla="*/ 60 h 433"/>
                    <a:gd name="T68" fmla="*/ 74 w 315"/>
                    <a:gd name="T69" fmla="*/ 81 h 433"/>
                    <a:gd name="T70" fmla="*/ 69 w 315"/>
                    <a:gd name="T71" fmla="*/ 104 h 433"/>
                    <a:gd name="T72" fmla="*/ 59 w 315"/>
                    <a:gd name="T73" fmla="*/ 100 h 433"/>
                    <a:gd name="T74" fmla="*/ 59 w 315"/>
                    <a:gd name="T75" fmla="*/ 78 h 433"/>
                    <a:gd name="T76" fmla="*/ 60 w 315"/>
                    <a:gd name="T77" fmla="*/ 71 h 433"/>
                    <a:gd name="T78" fmla="*/ 51 w 315"/>
                    <a:gd name="T79" fmla="*/ 81 h 433"/>
                    <a:gd name="T80" fmla="*/ 46 w 315"/>
                    <a:gd name="T81" fmla="*/ 96 h 433"/>
                    <a:gd name="T82" fmla="*/ 31 w 315"/>
                    <a:gd name="T83" fmla="*/ 104 h 433"/>
                    <a:gd name="T84" fmla="*/ 26 w 315"/>
                    <a:gd name="T85" fmla="*/ 117 h 433"/>
                    <a:gd name="T86" fmla="*/ 17 w 315"/>
                    <a:gd name="T87" fmla="*/ 143 h 433"/>
                    <a:gd name="T88" fmla="*/ 15 w 315"/>
                    <a:gd name="T89" fmla="*/ 172 h 433"/>
                    <a:gd name="T90" fmla="*/ 3 w 315"/>
                    <a:gd name="T91" fmla="*/ 193 h 433"/>
                    <a:gd name="T92" fmla="*/ 12 w 315"/>
                    <a:gd name="T93" fmla="*/ 224 h 433"/>
                    <a:gd name="T94" fmla="*/ 13 w 315"/>
                    <a:gd name="T95" fmla="*/ 250 h 433"/>
                    <a:gd name="T96" fmla="*/ 38 w 315"/>
                    <a:gd name="T97" fmla="*/ 305 h 433"/>
                    <a:gd name="T98" fmla="*/ 43 w 315"/>
                    <a:gd name="T99" fmla="*/ 331 h 433"/>
                    <a:gd name="T100" fmla="*/ 40 w 315"/>
                    <a:gd name="T101" fmla="*/ 337 h 433"/>
                    <a:gd name="T102" fmla="*/ 33 w 315"/>
                    <a:gd name="T103" fmla="*/ 374 h 433"/>
                    <a:gd name="T104" fmla="*/ 15 w 315"/>
                    <a:gd name="T105" fmla="*/ 420 h 433"/>
                    <a:gd name="T106" fmla="*/ 0 w 315"/>
                    <a:gd name="T10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5" h="433">
                      <a:moveTo>
                        <a:pt x="0" y="433"/>
                      </a:moveTo>
                      <a:lnTo>
                        <a:pt x="156" y="413"/>
                      </a:lnTo>
                      <a:lnTo>
                        <a:pt x="157" y="418"/>
                      </a:lnTo>
                      <a:lnTo>
                        <a:pt x="256" y="405"/>
                      </a:lnTo>
                      <a:lnTo>
                        <a:pt x="258" y="400"/>
                      </a:lnTo>
                      <a:lnTo>
                        <a:pt x="270" y="376"/>
                      </a:lnTo>
                      <a:lnTo>
                        <a:pt x="275" y="369"/>
                      </a:lnTo>
                      <a:lnTo>
                        <a:pt x="274" y="353"/>
                      </a:lnTo>
                      <a:lnTo>
                        <a:pt x="278" y="340"/>
                      </a:lnTo>
                      <a:lnTo>
                        <a:pt x="291" y="330"/>
                      </a:lnTo>
                      <a:lnTo>
                        <a:pt x="291" y="316"/>
                      </a:lnTo>
                      <a:lnTo>
                        <a:pt x="293" y="314"/>
                      </a:lnTo>
                      <a:lnTo>
                        <a:pt x="293" y="307"/>
                      </a:lnTo>
                      <a:lnTo>
                        <a:pt x="300" y="300"/>
                      </a:lnTo>
                      <a:lnTo>
                        <a:pt x="304" y="308"/>
                      </a:lnTo>
                      <a:lnTo>
                        <a:pt x="306" y="308"/>
                      </a:lnTo>
                      <a:lnTo>
                        <a:pt x="311" y="305"/>
                      </a:lnTo>
                      <a:lnTo>
                        <a:pt x="313" y="302"/>
                      </a:lnTo>
                      <a:lnTo>
                        <a:pt x="315" y="295"/>
                      </a:lnTo>
                      <a:lnTo>
                        <a:pt x="312" y="281"/>
                      </a:lnTo>
                      <a:lnTo>
                        <a:pt x="314" y="264"/>
                      </a:lnTo>
                      <a:lnTo>
                        <a:pt x="309" y="252"/>
                      </a:lnTo>
                      <a:lnTo>
                        <a:pt x="306" y="228"/>
                      </a:lnTo>
                      <a:lnTo>
                        <a:pt x="284" y="169"/>
                      </a:lnTo>
                      <a:lnTo>
                        <a:pt x="261" y="162"/>
                      </a:lnTo>
                      <a:lnTo>
                        <a:pt x="252" y="168"/>
                      </a:lnTo>
                      <a:lnTo>
                        <a:pt x="242" y="178"/>
                      </a:lnTo>
                      <a:lnTo>
                        <a:pt x="216" y="217"/>
                      </a:lnTo>
                      <a:lnTo>
                        <a:pt x="213" y="217"/>
                      </a:lnTo>
                      <a:lnTo>
                        <a:pt x="211" y="216"/>
                      </a:lnTo>
                      <a:lnTo>
                        <a:pt x="200" y="212"/>
                      </a:lnTo>
                      <a:lnTo>
                        <a:pt x="197" y="208"/>
                      </a:lnTo>
                      <a:lnTo>
                        <a:pt x="193" y="200"/>
                      </a:lnTo>
                      <a:lnTo>
                        <a:pt x="196" y="184"/>
                      </a:lnTo>
                      <a:lnTo>
                        <a:pt x="201" y="176"/>
                      </a:lnTo>
                      <a:lnTo>
                        <a:pt x="214" y="168"/>
                      </a:lnTo>
                      <a:lnTo>
                        <a:pt x="217" y="161"/>
                      </a:lnTo>
                      <a:lnTo>
                        <a:pt x="218" y="156"/>
                      </a:lnTo>
                      <a:lnTo>
                        <a:pt x="220" y="148"/>
                      </a:lnTo>
                      <a:lnTo>
                        <a:pt x="226" y="145"/>
                      </a:lnTo>
                      <a:lnTo>
                        <a:pt x="232" y="132"/>
                      </a:lnTo>
                      <a:lnTo>
                        <a:pt x="232" y="107"/>
                      </a:lnTo>
                      <a:lnTo>
                        <a:pt x="228" y="94"/>
                      </a:lnTo>
                      <a:lnTo>
                        <a:pt x="224" y="87"/>
                      </a:lnTo>
                      <a:lnTo>
                        <a:pt x="216" y="77"/>
                      </a:lnTo>
                      <a:lnTo>
                        <a:pt x="213" y="72"/>
                      </a:lnTo>
                      <a:lnTo>
                        <a:pt x="215" y="66"/>
                      </a:lnTo>
                      <a:lnTo>
                        <a:pt x="224" y="63"/>
                      </a:lnTo>
                      <a:lnTo>
                        <a:pt x="225" y="60"/>
                      </a:lnTo>
                      <a:lnTo>
                        <a:pt x="215" y="42"/>
                      </a:lnTo>
                      <a:lnTo>
                        <a:pt x="206" y="37"/>
                      </a:lnTo>
                      <a:lnTo>
                        <a:pt x="180" y="27"/>
                      </a:lnTo>
                      <a:lnTo>
                        <a:pt x="160" y="24"/>
                      </a:lnTo>
                      <a:lnTo>
                        <a:pt x="154" y="16"/>
                      </a:lnTo>
                      <a:lnTo>
                        <a:pt x="139" y="12"/>
                      </a:lnTo>
                      <a:lnTo>
                        <a:pt x="124" y="8"/>
                      </a:lnTo>
                      <a:lnTo>
                        <a:pt x="114" y="0"/>
                      </a:lnTo>
                      <a:lnTo>
                        <a:pt x="108" y="6"/>
                      </a:lnTo>
                      <a:lnTo>
                        <a:pt x="100" y="9"/>
                      </a:lnTo>
                      <a:lnTo>
                        <a:pt x="92" y="24"/>
                      </a:lnTo>
                      <a:lnTo>
                        <a:pt x="92" y="35"/>
                      </a:lnTo>
                      <a:lnTo>
                        <a:pt x="93" y="40"/>
                      </a:lnTo>
                      <a:lnTo>
                        <a:pt x="96" y="40"/>
                      </a:lnTo>
                      <a:lnTo>
                        <a:pt x="98" y="44"/>
                      </a:lnTo>
                      <a:lnTo>
                        <a:pt x="95" y="46"/>
                      </a:lnTo>
                      <a:lnTo>
                        <a:pt x="88" y="49"/>
                      </a:lnTo>
                      <a:lnTo>
                        <a:pt x="84" y="52"/>
                      </a:lnTo>
                      <a:lnTo>
                        <a:pt x="78" y="60"/>
                      </a:lnTo>
                      <a:lnTo>
                        <a:pt x="72" y="70"/>
                      </a:lnTo>
                      <a:lnTo>
                        <a:pt x="74" y="81"/>
                      </a:lnTo>
                      <a:lnTo>
                        <a:pt x="76" y="92"/>
                      </a:lnTo>
                      <a:lnTo>
                        <a:pt x="69" y="104"/>
                      </a:lnTo>
                      <a:lnTo>
                        <a:pt x="60" y="108"/>
                      </a:lnTo>
                      <a:lnTo>
                        <a:pt x="59" y="100"/>
                      </a:lnTo>
                      <a:lnTo>
                        <a:pt x="63" y="89"/>
                      </a:lnTo>
                      <a:lnTo>
                        <a:pt x="59" y="78"/>
                      </a:lnTo>
                      <a:lnTo>
                        <a:pt x="60" y="74"/>
                      </a:lnTo>
                      <a:lnTo>
                        <a:pt x="60" y="71"/>
                      </a:lnTo>
                      <a:lnTo>
                        <a:pt x="56" y="73"/>
                      </a:lnTo>
                      <a:lnTo>
                        <a:pt x="51" y="81"/>
                      </a:lnTo>
                      <a:lnTo>
                        <a:pt x="49" y="91"/>
                      </a:lnTo>
                      <a:lnTo>
                        <a:pt x="46" y="96"/>
                      </a:lnTo>
                      <a:lnTo>
                        <a:pt x="40" y="96"/>
                      </a:lnTo>
                      <a:lnTo>
                        <a:pt x="31" y="104"/>
                      </a:lnTo>
                      <a:lnTo>
                        <a:pt x="28" y="112"/>
                      </a:lnTo>
                      <a:lnTo>
                        <a:pt x="26" y="117"/>
                      </a:lnTo>
                      <a:lnTo>
                        <a:pt x="18" y="127"/>
                      </a:lnTo>
                      <a:lnTo>
                        <a:pt x="17" y="143"/>
                      </a:lnTo>
                      <a:lnTo>
                        <a:pt x="16" y="161"/>
                      </a:lnTo>
                      <a:lnTo>
                        <a:pt x="15" y="172"/>
                      </a:lnTo>
                      <a:lnTo>
                        <a:pt x="8" y="185"/>
                      </a:lnTo>
                      <a:lnTo>
                        <a:pt x="3" y="193"/>
                      </a:lnTo>
                      <a:lnTo>
                        <a:pt x="4" y="202"/>
                      </a:lnTo>
                      <a:lnTo>
                        <a:pt x="12" y="224"/>
                      </a:lnTo>
                      <a:lnTo>
                        <a:pt x="8" y="238"/>
                      </a:lnTo>
                      <a:lnTo>
                        <a:pt x="13" y="250"/>
                      </a:lnTo>
                      <a:lnTo>
                        <a:pt x="28" y="280"/>
                      </a:lnTo>
                      <a:lnTo>
                        <a:pt x="38" y="305"/>
                      </a:lnTo>
                      <a:lnTo>
                        <a:pt x="38" y="326"/>
                      </a:lnTo>
                      <a:lnTo>
                        <a:pt x="43" y="331"/>
                      </a:lnTo>
                      <a:lnTo>
                        <a:pt x="43" y="334"/>
                      </a:lnTo>
                      <a:lnTo>
                        <a:pt x="40" y="337"/>
                      </a:lnTo>
                      <a:lnTo>
                        <a:pt x="37" y="359"/>
                      </a:lnTo>
                      <a:lnTo>
                        <a:pt x="33" y="374"/>
                      </a:lnTo>
                      <a:lnTo>
                        <a:pt x="28" y="389"/>
                      </a:lnTo>
                      <a:lnTo>
                        <a:pt x="15" y="420"/>
                      </a:lnTo>
                      <a:lnTo>
                        <a:pt x="4" y="429"/>
                      </a:lnTo>
                      <a:lnTo>
                        <a:pt x="0" y="433"/>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7" name="Freeform 42">
                  <a:extLst>
                    <a:ext uri="{FF2B5EF4-FFF2-40B4-BE49-F238E27FC236}">
                      <a16:creationId xmlns:a16="http://schemas.microsoft.com/office/drawing/2014/main" id="{6F8370C6-EFB0-45C4-8731-7C025BFCB233}"/>
                    </a:ext>
                  </a:extLst>
                </p:cNvPr>
                <p:cNvSpPr>
                  <a:spLocks/>
                </p:cNvSpPr>
                <p:nvPr/>
              </p:nvSpPr>
              <p:spPr bwMode="auto">
                <a:xfrm>
                  <a:off x="4395" y="1822"/>
                  <a:ext cx="225" cy="397"/>
                </a:xfrm>
                <a:custGeom>
                  <a:avLst/>
                  <a:gdLst>
                    <a:gd name="T0" fmla="*/ 8 w 245"/>
                    <a:gd name="T1" fmla="*/ 27 h 433"/>
                    <a:gd name="T2" fmla="*/ 28 w 245"/>
                    <a:gd name="T3" fmla="*/ 269 h 433"/>
                    <a:gd name="T4" fmla="*/ 24 w 245"/>
                    <a:gd name="T5" fmla="*/ 273 h 433"/>
                    <a:gd name="T6" fmla="*/ 26 w 245"/>
                    <a:gd name="T7" fmla="*/ 282 h 433"/>
                    <a:gd name="T8" fmla="*/ 23 w 245"/>
                    <a:gd name="T9" fmla="*/ 295 h 433"/>
                    <a:gd name="T10" fmla="*/ 32 w 245"/>
                    <a:gd name="T11" fmla="*/ 313 h 433"/>
                    <a:gd name="T12" fmla="*/ 36 w 245"/>
                    <a:gd name="T13" fmla="*/ 336 h 433"/>
                    <a:gd name="T14" fmla="*/ 24 w 245"/>
                    <a:gd name="T15" fmla="*/ 356 h 433"/>
                    <a:gd name="T16" fmla="*/ 24 w 245"/>
                    <a:gd name="T17" fmla="*/ 362 h 433"/>
                    <a:gd name="T18" fmla="*/ 16 w 245"/>
                    <a:gd name="T19" fmla="*/ 378 h 433"/>
                    <a:gd name="T20" fmla="*/ 4 w 245"/>
                    <a:gd name="T21" fmla="*/ 390 h 433"/>
                    <a:gd name="T22" fmla="*/ 4 w 245"/>
                    <a:gd name="T23" fmla="*/ 405 h 433"/>
                    <a:gd name="T24" fmla="*/ 0 w 245"/>
                    <a:gd name="T25" fmla="*/ 424 h 433"/>
                    <a:gd name="T26" fmla="*/ 0 w 245"/>
                    <a:gd name="T27" fmla="*/ 428 h 433"/>
                    <a:gd name="T28" fmla="*/ 0 w 245"/>
                    <a:gd name="T29" fmla="*/ 432 h 433"/>
                    <a:gd name="T30" fmla="*/ 7 w 245"/>
                    <a:gd name="T31" fmla="*/ 433 h 433"/>
                    <a:gd name="T32" fmla="*/ 13 w 245"/>
                    <a:gd name="T33" fmla="*/ 431 h 433"/>
                    <a:gd name="T34" fmla="*/ 12 w 245"/>
                    <a:gd name="T35" fmla="*/ 428 h 433"/>
                    <a:gd name="T36" fmla="*/ 15 w 245"/>
                    <a:gd name="T37" fmla="*/ 420 h 433"/>
                    <a:gd name="T38" fmla="*/ 30 w 245"/>
                    <a:gd name="T39" fmla="*/ 421 h 433"/>
                    <a:gd name="T40" fmla="*/ 49 w 245"/>
                    <a:gd name="T41" fmla="*/ 414 h 433"/>
                    <a:gd name="T42" fmla="*/ 73 w 245"/>
                    <a:gd name="T43" fmla="*/ 425 h 433"/>
                    <a:gd name="T44" fmla="*/ 76 w 245"/>
                    <a:gd name="T45" fmla="*/ 428 h 433"/>
                    <a:gd name="T46" fmla="*/ 80 w 245"/>
                    <a:gd name="T47" fmla="*/ 426 h 433"/>
                    <a:gd name="T48" fmla="*/ 85 w 245"/>
                    <a:gd name="T49" fmla="*/ 410 h 433"/>
                    <a:gd name="T50" fmla="*/ 99 w 245"/>
                    <a:gd name="T51" fmla="*/ 405 h 433"/>
                    <a:gd name="T52" fmla="*/ 104 w 245"/>
                    <a:gd name="T53" fmla="*/ 412 h 433"/>
                    <a:gd name="T54" fmla="*/ 112 w 245"/>
                    <a:gd name="T55" fmla="*/ 418 h 433"/>
                    <a:gd name="T56" fmla="*/ 119 w 245"/>
                    <a:gd name="T57" fmla="*/ 412 h 433"/>
                    <a:gd name="T58" fmla="*/ 125 w 245"/>
                    <a:gd name="T59" fmla="*/ 392 h 433"/>
                    <a:gd name="T60" fmla="*/ 130 w 245"/>
                    <a:gd name="T61" fmla="*/ 385 h 433"/>
                    <a:gd name="T62" fmla="*/ 136 w 245"/>
                    <a:gd name="T63" fmla="*/ 386 h 433"/>
                    <a:gd name="T64" fmla="*/ 144 w 245"/>
                    <a:gd name="T65" fmla="*/ 396 h 433"/>
                    <a:gd name="T66" fmla="*/ 164 w 245"/>
                    <a:gd name="T67" fmla="*/ 396 h 433"/>
                    <a:gd name="T68" fmla="*/ 170 w 245"/>
                    <a:gd name="T69" fmla="*/ 377 h 433"/>
                    <a:gd name="T70" fmla="*/ 202 w 245"/>
                    <a:gd name="T71" fmla="*/ 336 h 433"/>
                    <a:gd name="T72" fmla="*/ 202 w 245"/>
                    <a:gd name="T73" fmla="*/ 320 h 433"/>
                    <a:gd name="T74" fmla="*/ 208 w 245"/>
                    <a:gd name="T75" fmla="*/ 316 h 433"/>
                    <a:gd name="T76" fmla="*/ 222 w 245"/>
                    <a:gd name="T77" fmla="*/ 319 h 433"/>
                    <a:gd name="T78" fmla="*/ 233 w 245"/>
                    <a:gd name="T79" fmla="*/ 310 h 433"/>
                    <a:gd name="T80" fmla="*/ 242 w 245"/>
                    <a:gd name="T81" fmla="*/ 308 h 433"/>
                    <a:gd name="T82" fmla="*/ 245 w 245"/>
                    <a:gd name="T83" fmla="*/ 301 h 433"/>
                    <a:gd name="T84" fmla="*/ 240 w 245"/>
                    <a:gd name="T85" fmla="*/ 284 h 433"/>
                    <a:gd name="T86" fmla="*/ 240 w 245"/>
                    <a:gd name="T87" fmla="*/ 278 h 433"/>
                    <a:gd name="T88" fmla="*/ 244 w 245"/>
                    <a:gd name="T89" fmla="*/ 271 h 433"/>
                    <a:gd name="T90" fmla="*/ 213 w 245"/>
                    <a:gd name="T91" fmla="*/ 5 h 433"/>
                    <a:gd name="T92" fmla="*/ 212 w 245"/>
                    <a:gd name="T93" fmla="*/ 0 h 433"/>
                    <a:gd name="T94" fmla="*/ 56 w 245"/>
                    <a:gd name="T95" fmla="*/ 20 h 433"/>
                    <a:gd name="T96" fmla="*/ 51 w 245"/>
                    <a:gd name="T97" fmla="*/ 24 h 433"/>
                    <a:gd name="T98" fmla="*/ 39 w 245"/>
                    <a:gd name="T99" fmla="*/ 29 h 433"/>
                    <a:gd name="T100" fmla="*/ 32 w 245"/>
                    <a:gd name="T101" fmla="*/ 32 h 433"/>
                    <a:gd name="T102" fmla="*/ 18 w 245"/>
                    <a:gd name="T103" fmla="*/ 35 h 433"/>
                    <a:gd name="T104" fmla="*/ 8 w 245"/>
                    <a:gd name="T105" fmla="*/ 2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433">
                      <a:moveTo>
                        <a:pt x="8" y="27"/>
                      </a:moveTo>
                      <a:lnTo>
                        <a:pt x="28" y="269"/>
                      </a:lnTo>
                      <a:lnTo>
                        <a:pt x="24" y="273"/>
                      </a:lnTo>
                      <a:lnTo>
                        <a:pt x="26" y="282"/>
                      </a:lnTo>
                      <a:lnTo>
                        <a:pt x="23" y="295"/>
                      </a:lnTo>
                      <a:lnTo>
                        <a:pt x="32" y="313"/>
                      </a:lnTo>
                      <a:lnTo>
                        <a:pt x="36" y="336"/>
                      </a:lnTo>
                      <a:lnTo>
                        <a:pt x="24" y="356"/>
                      </a:lnTo>
                      <a:lnTo>
                        <a:pt x="24" y="362"/>
                      </a:lnTo>
                      <a:lnTo>
                        <a:pt x="16" y="378"/>
                      </a:lnTo>
                      <a:lnTo>
                        <a:pt x="4" y="390"/>
                      </a:lnTo>
                      <a:lnTo>
                        <a:pt x="4" y="405"/>
                      </a:lnTo>
                      <a:lnTo>
                        <a:pt x="0" y="424"/>
                      </a:lnTo>
                      <a:lnTo>
                        <a:pt x="0" y="428"/>
                      </a:lnTo>
                      <a:lnTo>
                        <a:pt x="0" y="432"/>
                      </a:lnTo>
                      <a:lnTo>
                        <a:pt x="7" y="433"/>
                      </a:lnTo>
                      <a:lnTo>
                        <a:pt x="13" y="431"/>
                      </a:lnTo>
                      <a:lnTo>
                        <a:pt x="12" y="428"/>
                      </a:lnTo>
                      <a:lnTo>
                        <a:pt x="15" y="420"/>
                      </a:lnTo>
                      <a:lnTo>
                        <a:pt x="30" y="421"/>
                      </a:lnTo>
                      <a:lnTo>
                        <a:pt x="49" y="414"/>
                      </a:lnTo>
                      <a:lnTo>
                        <a:pt x="73" y="425"/>
                      </a:lnTo>
                      <a:lnTo>
                        <a:pt x="76" y="428"/>
                      </a:lnTo>
                      <a:lnTo>
                        <a:pt x="80" y="426"/>
                      </a:lnTo>
                      <a:lnTo>
                        <a:pt x="85" y="410"/>
                      </a:lnTo>
                      <a:lnTo>
                        <a:pt x="99" y="405"/>
                      </a:lnTo>
                      <a:lnTo>
                        <a:pt x="104" y="412"/>
                      </a:lnTo>
                      <a:lnTo>
                        <a:pt x="112" y="418"/>
                      </a:lnTo>
                      <a:lnTo>
                        <a:pt x="119" y="412"/>
                      </a:lnTo>
                      <a:lnTo>
                        <a:pt x="125" y="392"/>
                      </a:lnTo>
                      <a:lnTo>
                        <a:pt x="130" y="385"/>
                      </a:lnTo>
                      <a:lnTo>
                        <a:pt x="136" y="386"/>
                      </a:lnTo>
                      <a:lnTo>
                        <a:pt x="144" y="396"/>
                      </a:lnTo>
                      <a:lnTo>
                        <a:pt x="164" y="396"/>
                      </a:lnTo>
                      <a:lnTo>
                        <a:pt x="170" y="377"/>
                      </a:lnTo>
                      <a:lnTo>
                        <a:pt x="202" y="336"/>
                      </a:lnTo>
                      <a:lnTo>
                        <a:pt x="202" y="320"/>
                      </a:lnTo>
                      <a:lnTo>
                        <a:pt x="208" y="316"/>
                      </a:lnTo>
                      <a:lnTo>
                        <a:pt x="222" y="319"/>
                      </a:lnTo>
                      <a:lnTo>
                        <a:pt x="233" y="310"/>
                      </a:lnTo>
                      <a:lnTo>
                        <a:pt x="242" y="308"/>
                      </a:lnTo>
                      <a:lnTo>
                        <a:pt x="245" y="301"/>
                      </a:lnTo>
                      <a:lnTo>
                        <a:pt x="240" y="284"/>
                      </a:lnTo>
                      <a:lnTo>
                        <a:pt x="240" y="278"/>
                      </a:lnTo>
                      <a:lnTo>
                        <a:pt x="244" y="271"/>
                      </a:lnTo>
                      <a:lnTo>
                        <a:pt x="213" y="5"/>
                      </a:lnTo>
                      <a:lnTo>
                        <a:pt x="212" y="0"/>
                      </a:lnTo>
                      <a:lnTo>
                        <a:pt x="56" y="20"/>
                      </a:lnTo>
                      <a:lnTo>
                        <a:pt x="51" y="24"/>
                      </a:lnTo>
                      <a:lnTo>
                        <a:pt x="39" y="29"/>
                      </a:lnTo>
                      <a:lnTo>
                        <a:pt x="32" y="32"/>
                      </a:lnTo>
                      <a:lnTo>
                        <a:pt x="18" y="35"/>
                      </a:lnTo>
                      <a:lnTo>
                        <a:pt x="8" y="27"/>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8" name="Freeform 43">
                  <a:extLst>
                    <a:ext uri="{FF2B5EF4-FFF2-40B4-BE49-F238E27FC236}">
                      <a16:creationId xmlns:a16="http://schemas.microsoft.com/office/drawing/2014/main" id="{B1C5B6A5-D1D8-46D2-A662-8FEF45A93306}"/>
                    </a:ext>
                  </a:extLst>
                </p:cNvPr>
                <p:cNvSpPr>
                  <a:spLocks/>
                </p:cNvSpPr>
                <p:nvPr/>
              </p:nvSpPr>
              <p:spPr bwMode="auto">
                <a:xfrm>
                  <a:off x="4298" y="2069"/>
                  <a:ext cx="546" cy="280"/>
                </a:xfrm>
                <a:custGeom>
                  <a:avLst/>
                  <a:gdLst>
                    <a:gd name="T0" fmla="*/ 118 w 595"/>
                    <a:gd name="T1" fmla="*/ 295 h 305"/>
                    <a:gd name="T2" fmla="*/ 115 w 595"/>
                    <a:gd name="T3" fmla="*/ 280 h 305"/>
                    <a:gd name="T4" fmla="*/ 134 w 595"/>
                    <a:gd name="T5" fmla="*/ 282 h 305"/>
                    <a:gd name="T6" fmla="*/ 477 w 595"/>
                    <a:gd name="T7" fmla="*/ 246 h 305"/>
                    <a:gd name="T8" fmla="*/ 512 w 595"/>
                    <a:gd name="T9" fmla="*/ 227 h 305"/>
                    <a:gd name="T10" fmla="*/ 531 w 595"/>
                    <a:gd name="T11" fmla="*/ 209 h 305"/>
                    <a:gd name="T12" fmla="*/ 534 w 595"/>
                    <a:gd name="T13" fmla="*/ 198 h 305"/>
                    <a:gd name="T14" fmla="*/ 543 w 595"/>
                    <a:gd name="T15" fmla="*/ 184 h 305"/>
                    <a:gd name="T16" fmla="*/ 593 w 595"/>
                    <a:gd name="T17" fmla="*/ 141 h 305"/>
                    <a:gd name="T18" fmla="*/ 589 w 595"/>
                    <a:gd name="T19" fmla="*/ 133 h 305"/>
                    <a:gd name="T20" fmla="*/ 581 w 595"/>
                    <a:gd name="T21" fmla="*/ 129 h 305"/>
                    <a:gd name="T22" fmla="*/ 571 w 595"/>
                    <a:gd name="T23" fmla="*/ 122 h 305"/>
                    <a:gd name="T24" fmla="*/ 565 w 595"/>
                    <a:gd name="T25" fmla="*/ 121 h 305"/>
                    <a:gd name="T26" fmla="*/ 537 w 595"/>
                    <a:gd name="T27" fmla="*/ 84 h 305"/>
                    <a:gd name="T28" fmla="*/ 537 w 595"/>
                    <a:gd name="T29" fmla="*/ 71 h 305"/>
                    <a:gd name="T30" fmla="*/ 534 w 595"/>
                    <a:gd name="T31" fmla="*/ 49 h 305"/>
                    <a:gd name="T32" fmla="*/ 522 w 595"/>
                    <a:gd name="T33" fmla="*/ 39 h 305"/>
                    <a:gd name="T34" fmla="*/ 505 w 595"/>
                    <a:gd name="T35" fmla="*/ 26 h 305"/>
                    <a:gd name="T36" fmla="*/ 492 w 595"/>
                    <a:gd name="T37" fmla="*/ 26 h 305"/>
                    <a:gd name="T38" fmla="*/ 484 w 595"/>
                    <a:gd name="T39" fmla="*/ 34 h 305"/>
                    <a:gd name="T40" fmla="*/ 470 w 595"/>
                    <a:gd name="T41" fmla="*/ 38 h 305"/>
                    <a:gd name="T42" fmla="*/ 450 w 595"/>
                    <a:gd name="T43" fmla="*/ 33 h 305"/>
                    <a:gd name="T44" fmla="*/ 427 w 595"/>
                    <a:gd name="T45" fmla="*/ 30 h 305"/>
                    <a:gd name="T46" fmla="*/ 398 w 595"/>
                    <a:gd name="T47" fmla="*/ 26 h 305"/>
                    <a:gd name="T48" fmla="*/ 377 w 595"/>
                    <a:gd name="T49" fmla="*/ 0 h 305"/>
                    <a:gd name="T50" fmla="*/ 363 w 595"/>
                    <a:gd name="T51" fmla="*/ 5 h 305"/>
                    <a:gd name="T52" fmla="*/ 349 w 595"/>
                    <a:gd name="T53" fmla="*/ 1 h 305"/>
                    <a:gd name="T54" fmla="*/ 345 w 595"/>
                    <a:gd name="T55" fmla="*/ 14 h 305"/>
                    <a:gd name="T56" fmla="*/ 347 w 595"/>
                    <a:gd name="T57" fmla="*/ 38 h 305"/>
                    <a:gd name="T58" fmla="*/ 327 w 595"/>
                    <a:gd name="T59" fmla="*/ 49 h 305"/>
                    <a:gd name="T60" fmla="*/ 307 w 595"/>
                    <a:gd name="T61" fmla="*/ 50 h 305"/>
                    <a:gd name="T62" fmla="*/ 275 w 595"/>
                    <a:gd name="T63" fmla="*/ 107 h 305"/>
                    <a:gd name="T64" fmla="*/ 249 w 595"/>
                    <a:gd name="T65" fmla="*/ 126 h 305"/>
                    <a:gd name="T66" fmla="*/ 235 w 595"/>
                    <a:gd name="T67" fmla="*/ 115 h 305"/>
                    <a:gd name="T68" fmla="*/ 224 w 595"/>
                    <a:gd name="T69" fmla="*/ 142 h 305"/>
                    <a:gd name="T70" fmla="*/ 209 w 595"/>
                    <a:gd name="T71" fmla="*/ 142 h 305"/>
                    <a:gd name="T72" fmla="*/ 190 w 595"/>
                    <a:gd name="T73" fmla="*/ 140 h 305"/>
                    <a:gd name="T74" fmla="*/ 181 w 595"/>
                    <a:gd name="T75" fmla="*/ 158 h 305"/>
                    <a:gd name="T76" fmla="*/ 154 w 595"/>
                    <a:gd name="T77" fmla="*/ 144 h 305"/>
                    <a:gd name="T78" fmla="*/ 120 w 595"/>
                    <a:gd name="T79" fmla="*/ 150 h 305"/>
                    <a:gd name="T80" fmla="*/ 118 w 595"/>
                    <a:gd name="T81" fmla="*/ 161 h 305"/>
                    <a:gd name="T82" fmla="*/ 105 w 595"/>
                    <a:gd name="T83" fmla="*/ 162 h 305"/>
                    <a:gd name="T84" fmla="*/ 104 w 595"/>
                    <a:gd name="T85" fmla="*/ 169 h 305"/>
                    <a:gd name="T86" fmla="*/ 99 w 595"/>
                    <a:gd name="T87" fmla="*/ 179 h 305"/>
                    <a:gd name="T88" fmla="*/ 107 w 595"/>
                    <a:gd name="T89" fmla="*/ 193 h 305"/>
                    <a:gd name="T90" fmla="*/ 81 w 595"/>
                    <a:gd name="T91" fmla="*/ 202 h 305"/>
                    <a:gd name="T92" fmla="*/ 75 w 595"/>
                    <a:gd name="T93" fmla="*/ 216 h 305"/>
                    <a:gd name="T94" fmla="*/ 69 w 595"/>
                    <a:gd name="T95" fmla="*/ 242 h 305"/>
                    <a:gd name="T96" fmla="*/ 49 w 595"/>
                    <a:gd name="T97" fmla="*/ 230 h 305"/>
                    <a:gd name="T98" fmla="*/ 25 w 595"/>
                    <a:gd name="T99" fmla="*/ 232 h 305"/>
                    <a:gd name="T100" fmla="*/ 22 w 595"/>
                    <a:gd name="T101" fmla="*/ 252 h 305"/>
                    <a:gd name="T102" fmla="*/ 29 w 595"/>
                    <a:gd name="T103" fmla="*/ 257 h 305"/>
                    <a:gd name="T104" fmla="*/ 24 w 595"/>
                    <a:gd name="T105" fmla="*/ 292 h 305"/>
                    <a:gd name="T106" fmla="*/ 15 w 595"/>
                    <a:gd name="T107" fmla="*/ 293 h 305"/>
                    <a:gd name="T108" fmla="*/ 0 w 595"/>
                    <a:gd name="T109"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5" h="305">
                      <a:moveTo>
                        <a:pt x="0" y="305"/>
                      </a:moveTo>
                      <a:lnTo>
                        <a:pt x="118" y="295"/>
                      </a:lnTo>
                      <a:lnTo>
                        <a:pt x="118" y="286"/>
                      </a:lnTo>
                      <a:lnTo>
                        <a:pt x="115" y="280"/>
                      </a:lnTo>
                      <a:lnTo>
                        <a:pt x="129" y="278"/>
                      </a:lnTo>
                      <a:lnTo>
                        <a:pt x="134" y="282"/>
                      </a:lnTo>
                      <a:lnTo>
                        <a:pt x="470" y="251"/>
                      </a:lnTo>
                      <a:lnTo>
                        <a:pt x="477" y="246"/>
                      </a:lnTo>
                      <a:lnTo>
                        <a:pt x="483" y="241"/>
                      </a:lnTo>
                      <a:lnTo>
                        <a:pt x="512" y="227"/>
                      </a:lnTo>
                      <a:lnTo>
                        <a:pt x="515" y="220"/>
                      </a:lnTo>
                      <a:lnTo>
                        <a:pt x="531" y="209"/>
                      </a:lnTo>
                      <a:lnTo>
                        <a:pt x="532" y="202"/>
                      </a:lnTo>
                      <a:lnTo>
                        <a:pt x="534" y="198"/>
                      </a:lnTo>
                      <a:lnTo>
                        <a:pt x="542" y="193"/>
                      </a:lnTo>
                      <a:lnTo>
                        <a:pt x="543" y="184"/>
                      </a:lnTo>
                      <a:lnTo>
                        <a:pt x="551" y="177"/>
                      </a:lnTo>
                      <a:lnTo>
                        <a:pt x="593" y="141"/>
                      </a:lnTo>
                      <a:lnTo>
                        <a:pt x="595" y="133"/>
                      </a:lnTo>
                      <a:lnTo>
                        <a:pt x="589" y="133"/>
                      </a:lnTo>
                      <a:lnTo>
                        <a:pt x="584" y="129"/>
                      </a:lnTo>
                      <a:lnTo>
                        <a:pt x="581" y="129"/>
                      </a:lnTo>
                      <a:lnTo>
                        <a:pt x="579" y="126"/>
                      </a:lnTo>
                      <a:lnTo>
                        <a:pt x="571" y="122"/>
                      </a:lnTo>
                      <a:lnTo>
                        <a:pt x="567" y="122"/>
                      </a:lnTo>
                      <a:lnTo>
                        <a:pt x="565" y="121"/>
                      </a:lnTo>
                      <a:lnTo>
                        <a:pt x="554" y="105"/>
                      </a:lnTo>
                      <a:lnTo>
                        <a:pt x="537" y="84"/>
                      </a:lnTo>
                      <a:lnTo>
                        <a:pt x="536" y="78"/>
                      </a:lnTo>
                      <a:lnTo>
                        <a:pt x="537" y="71"/>
                      </a:lnTo>
                      <a:lnTo>
                        <a:pt x="537" y="62"/>
                      </a:lnTo>
                      <a:lnTo>
                        <a:pt x="534" y="49"/>
                      </a:lnTo>
                      <a:lnTo>
                        <a:pt x="531" y="46"/>
                      </a:lnTo>
                      <a:lnTo>
                        <a:pt x="522" y="39"/>
                      </a:lnTo>
                      <a:lnTo>
                        <a:pt x="513" y="37"/>
                      </a:lnTo>
                      <a:lnTo>
                        <a:pt x="505" y="26"/>
                      </a:lnTo>
                      <a:lnTo>
                        <a:pt x="501" y="19"/>
                      </a:lnTo>
                      <a:lnTo>
                        <a:pt x="492" y="26"/>
                      </a:lnTo>
                      <a:lnTo>
                        <a:pt x="489" y="30"/>
                      </a:lnTo>
                      <a:lnTo>
                        <a:pt x="484" y="34"/>
                      </a:lnTo>
                      <a:lnTo>
                        <a:pt x="482" y="36"/>
                      </a:lnTo>
                      <a:lnTo>
                        <a:pt x="470" y="38"/>
                      </a:lnTo>
                      <a:lnTo>
                        <a:pt x="456" y="32"/>
                      </a:lnTo>
                      <a:lnTo>
                        <a:pt x="450" y="33"/>
                      </a:lnTo>
                      <a:lnTo>
                        <a:pt x="444" y="42"/>
                      </a:lnTo>
                      <a:lnTo>
                        <a:pt x="427" y="30"/>
                      </a:lnTo>
                      <a:lnTo>
                        <a:pt x="410" y="31"/>
                      </a:lnTo>
                      <a:lnTo>
                        <a:pt x="398" y="26"/>
                      </a:lnTo>
                      <a:lnTo>
                        <a:pt x="393" y="12"/>
                      </a:lnTo>
                      <a:lnTo>
                        <a:pt x="377" y="0"/>
                      </a:lnTo>
                      <a:lnTo>
                        <a:pt x="368" y="5"/>
                      </a:lnTo>
                      <a:lnTo>
                        <a:pt x="363" y="5"/>
                      </a:lnTo>
                      <a:lnTo>
                        <a:pt x="355" y="1"/>
                      </a:lnTo>
                      <a:lnTo>
                        <a:pt x="349" y="1"/>
                      </a:lnTo>
                      <a:lnTo>
                        <a:pt x="345" y="8"/>
                      </a:lnTo>
                      <a:lnTo>
                        <a:pt x="345" y="14"/>
                      </a:lnTo>
                      <a:lnTo>
                        <a:pt x="350" y="31"/>
                      </a:lnTo>
                      <a:lnTo>
                        <a:pt x="347" y="38"/>
                      </a:lnTo>
                      <a:lnTo>
                        <a:pt x="338" y="40"/>
                      </a:lnTo>
                      <a:lnTo>
                        <a:pt x="327" y="49"/>
                      </a:lnTo>
                      <a:lnTo>
                        <a:pt x="313" y="46"/>
                      </a:lnTo>
                      <a:lnTo>
                        <a:pt x="307" y="50"/>
                      </a:lnTo>
                      <a:lnTo>
                        <a:pt x="307" y="66"/>
                      </a:lnTo>
                      <a:lnTo>
                        <a:pt x="275" y="107"/>
                      </a:lnTo>
                      <a:lnTo>
                        <a:pt x="269" y="126"/>
                      </a:lnTo>
                      <a:lnTo>
                        <a:pt x="249" y="126"/>
                      </a:lnTo>
                      <a:lnTo>
                        <a:pt x="241" y="116"/>
                      </a:lnTo>
                      <a:lnTo>
                        <a:pt x="235" y="115"/>
                      </a:lnTo>
                      <a:lnTo>
                        <a:pt x="230" y="122"/>
                      </a:lnTo>
                      <a:lnTo>
                        <a:pt x="224" y="142"/>
                      </a:lnTo>
                      <a:lnTo>
                        <a:pt x="217" y="148"/>
                      </a:lnTo>
                      <a:lnTo>
                        <a:pt x="209" y="142"/>
                      </a:lnTo>
                      <a:lnTo>
                        <a:pt x="204" y="135"/>
                      </a:lnTo>
                      <a:lnTo>
                        <a:pt x="190" y="140"/>
                      </a:lnTo>
                      <a:lnTo>
                        <a:pt x="185" y="156"/>
                      </a:lnTo>
                      <a:lnTo>
                        <a:pt x="181" y="158"/>
                      </a:lnTo>
                      <a:lnTo>
                        <a:pt x="178" y="155"/>
                      </a:lnTo>
                      <a:lnTo>
                        <a:pt x="154" y="144"/>
                      </a:lnTo>
                      <a:lnTo>
                        <a:pt x="135" y="151"/>
                      </a:lnTo>
                      <a:lnTo>
                        <a:pt x="120" y="150"/>
                      </a:lnTo>
                      <a:lnTo>
                        <a:pt x="117" y="158"/>
                      </a:lnTo>
                      <a:lnTo>
                        <a:pt x="118" y="161"/>
                      </a:lnTo>
                      <a:lnTo>
                        <a:pt x="112" y="163"/>
                      </a:lnTo>
                      <a:lnTo>
                        <a:pt x="105" y="162"/>
                      </a:lnTo>
                      <a:lnTo>
                        <a:pt x="107" y="164"/>
                      </a:lnTo>
                      <a:lnTo>
                        <a:pt x="104" y="169"/>
                      </a:lnTo>
                      <a:lnTo>
                        <a:pt x="102" y="177"/>
                      </a:lnTo>
                      <a:lnTo>
                        <a:pt x="99" y="179"/>
                      </a:lnTo>
                      <a:lnTo>
                        <a:pt x="99" y="182"/>
                      </a:lnTo>
                      <a:lnTo>
                        <a:pt x="107" y="193"/>
                      </a:lnTo>
                      <a:lnTo>
                        <a:pt x="105" y="194"/>
                      </a:lnTo>
                      <a:lnTo>
                        <a:pt x="81" y="202"/>
                      </a:lnTo>
                      <a:lnTo>
                        <a:pt x="73" y="206"/>
                      </a:lnTo>
                      <a:lnTo>
                        <a:pt x="75" y="216"/>
                      </a:lnTo>
                      <a:lnTo>
                        <a:pt x="80" y="237"/>
                      </a:lnTo>
                      <a:lnTo>
                        <a:pt x="69" y="242"/>
                      </a:lnTo>
                      <a:lnTo>
                        <a:pt x="59" y="234"/>
                      </a:lnTo>
                      <a:lnTo>
                        <a:pt x="49" y="230"/>
                      </a:lnTo>
                      <a:lnTo>
                        <a:pt x="35" y="227"/>
                      </a:lnTo>
                      <a:lnTo>
                        <a:pt x="25" y="232"/>
                      </a:lnTo>
                      <a:lnTo>
                        <a:pt x="21" y="250"/>
                      </a:lnTo>
                      <a:lnTo>
                        <a:pt x="22" y="252"/>
                      </a:lnTo>
                      <a:lnTo>
                        <a:pt x="25" y="254"/>
                      </a:lnTo>
                      <a:lnTo>
                        <a:pt x="29" y="257"/>
                      </a:lnTo>
                      <a:lnTo>
                        <a:pt x="32" y="266"/>
                      </a:lnTo>
                      <a:lnTo>
                        <a:pt x="24" y="292"/>
                      </a:lnTo>
                      <a:lnTo>
                        <a:pt x="19" y="295"/>
                      </a:lnTo>
                      <a:lnTo>
                        <a:pt x="15" y="293"/>
                      </a:lnTo>
                      <a:lnTo>
                        <a:pt x="5" y="298"/>
                      </a:lnTo>
                      <a:lnTo>
                        <a:pt x="0" y="305"/>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39" name="Freeform 44">
                  <a:extLst>
                    <a:ext uri="{FF2B5EF4-FFF2-40B4-BE49-F238E27FC236}">
                      <a16:creationId xmlns:a16="http://schemas.microsoft.com/office/drawing/2014/main" id="{C64D16AA-4036-4CD5-86CD-C19D1D91DE81}"/>
                    </a:ext>
                  </a:extLst>
                </p:cNvPr>
                <p:cNvSpPr>
                  <a:spLocks/>
                </p:cNvSpPr>
                <p:nvPr/>
              </p:nvSpPr>
              <p:spPr bwMode="auto">
                <a:xfrm>
                  <a:off x="4248" y="2281"/>
                  <a:ext cx="612" cy="213"/>
                </a:xfrm>
                <a:custGeom>
                  <a:avLst/>
                  <a:gdLst>
                    <a:gd name="T0" fmla="*/ 667 w 667"/>
                    <a:gd name="T1" fmla="*/ 0 h 233"/>
                    <a:gd name="T2" fmla="*/ 531 w 667"/>
                    <a:gd name="T3" fmla="*/ 16 h 233"/>
                    <a:gd name="T4" fmla="*/ 524 w 667"/>
                    <a:gd name="T5" fmla="*/ 21 h 233"/>
                    <a:gd name="T6" fmla="*/ 188 w 667"/>
                    <a:gd name="T7" fmla="*/ 52 h 233"/>
                    <a:gd name="T8" fmla="*/ 183 w 667"/>
                    <a:gd name="T9" fmla="*/ 48 h 233"/>
                    <a:gd name="T10" fmla="*/ 169 w 667"/>
                    <a:gd name="T11" fmla="*/ 50 h 233"/>
                    <a:gd name="T12" fmla="*/ 172 w 667"/>
                    <a:gd name="T13" fmla="*/ 56 h 233"/>
                    <a:gd name="T14" fmla="*/ 172 w 667"/>
                    <a:gd name="T15" fmla="*/ 65 h 233"/>
                    <a:gd name="T16" fmla="*/ 54 w 667"/>
                    <a:gd name="T17" fmla="*/ 75 h 233"/>
                    <a:gd name="T18" fmla="*/ 47 w 667"/>
                    <a:gd name="T19" fmla="*/ 89 h 233"/>
                    <a:gd name="T20" fmla="*/ 43 w 667"/>
                    <a:gd name="T21" fmla="*/ 107 h 233"/>
                    <a:gd name="T22" fmla="*/ 45 w 667"/>
                    <a:gd name="T23" fmla="*/ 112 h 233"/>
                    <a:gd name="T24" fmla="*/ 41 w 667"/>
                    <a:gd name="T25" fmla="*/ 128 h 233"/>
                    <a:gd name="T26" fmla="*/ 38 w 667"/>
                    <a:gd name="T27" fmla="*/ 132 h 233"/>
                    <a:gd name="T28" fmla="*/ 39 w 667"/>
                    <a:gd name="T29" fmla="*/ 137 h 233"/>
                    <a:gd name="T30" fmla="*/ 36 w 667"/>
                    <a:gd name="T31" fmla="*/ 146 h 233"/>
                    <a:gd name="T32" fmla="*/ 26 w 667"/>
                    <a:gd name="T33" fmla="*/ 157 h 233"/>
                    <a:gd name="T34" fmla="*/ 22 w 667"/>
                    <a:gd name="T35" fmla="*/ 178 h 233"/>
                    <a:gd name="T36" fmla="*/ 11 w 667"/>
                    <a:gd name="T37" fmla="*/ 192 h 233"/>
                    <a:gd name="T38" fmla="*/ 13 w 667"/>
                    <a:gd name="T39" fmla="*/ 206 h 233"/>
                    <a:gd name="T40" fmla="*/ 12 w 667"/>
                    <a:gd name="T41" fmla="*/ 224 h 233"/>
                    <a:gd name="T42" fmla="*/ 9 w 667"/>
                    <a:gd name="T43" fmla="*/ 225 h 233"/>
                    <a:gd name="T44" fmla="*/ 0 w 667"/>
                    <a:gd name="T45" fmla="*/ 233 h 233"/>
                    <a:gd name="T46" fmla="*/ 172 w 667"/>
                    <a:gd name="T47" fmla="*/ 221 h 233"/>
                    <a:gd name="T48" fmla="*/ 387 w 667"/>
                    <a:gd name="T49" fmla="*/ 202 h 233"/>
                    <a:gd name="T50" fmla="*/ 470 w 667"/>
                    <a:gd name="T51" fmla="*/ 192 h 233"/>
                    <a:gd name="T52" fmla="*/ 472 w 667"/>
                    <a:gd name="T53" fmla="*/ 168 h 233"/>
                    <a:gd name="T54" fmla="*/ 479 w 667"/>
                    <a:gd name="T55" fmla="*/ 168 h 233"/>
                    <a:gd name="T56" fmla="*/ 483 w 667"/>
                    <a:gd name="T57" fmla="*/ 168 h 233"/>
                    <a:gd name="T58" fmla="*/ 489 w 667"/>
                    <a:gd name="T59" fmla="*/ 161 h 233"/>
                    <a:gd name="T60" fmla="*/ 490 w 667"/>
                    <a:gd name="T61" fmla="*/ 155 h 233"/>
                    <a:gd name="T62" fmla="*/ 489 w 667"/>
                    <a:gd name="T63" fmla="*/ 151 h 233"/>
                    <a:gd name="T64" fmla="*/ 492 w 667"/>
                    <a:gd name="T65" fmla="*/ 145 h 233"/>
                    <a:gd name="T66" fmla="*/ 498 w 667"/>
                    <a:gd name="T67" fmla="*/ 137 h 233"/>
                    <a:gd name="T68" fmla="*/ 515 w 667"/>
                    <a:gd name="T69" fmla="*/ 130 h 233"/>
                    <a:gd name="T70" fmla="*/ 534 w 667"/>
                    <a:gd name="T71" fmla="*/ 125 h 233"/>
                    <a:gd name="T72" fmla="*/ 553 w 667"/>
                    <a:gd name="T73" fmla="*/ 108 h 233"/>
                    <a:gd name="T74" fmla="*/ 561 w 667"/>
                    <a:gd name="T75" fmla="*/ 105 h 233"/>
                    <a:gd name="T76" fmla="*/ 572 w 667"/>
                    <a:gd name="T77" fmla="*/ 94 h 233"/>
                    <a:gd name="T78" fmla="*/ 575 w 667"/>
                    <a:gd name="T79" fmla="*/ 84 h 233"/>
                    <a:gd name="T80" fmla="*/ 577 w 667"/>
                    <a:gd name="T81" fmla="*/ 84 h 233"/>
                    <a:gd name="T82" fmla="*/ 582 w 667"/>
                    <a:gd name="T83" fmla="*/ 84 h 233"/>
                    <a:gd name="T84" fmla="*/ 585 w 667"/>
                    <a:gd name="T85" fmla="*/ 80 h 233"/>
                    <a:gd name="T86" fmla="*/ 587 w 667"/>
                    <a:gd name="T87" fmla="*/ 77 h 233"/>
                    <a:gd name="T88" fmla="*/ 593 w 667"/>
                    <a:gd name="T89" fmla="*/ 71 h 233"/>
                    <a:gd name="T90" fmla="*/ 595 w 667"/>
                    <a:gd name="T91" fmla="*/ 72 h 233"/>
                    <a:gd name="T92" fmla="*/ 601 w 667"/>
                    <a:gd name="T93" fmla="*/ 75 h 233"/>
                    <a:gd name="T94" fmla="*/ 607 w 667"/>
                    <a:gd name="T95" fmla="*/ 72 h 233"/>
                    <a:gd name="T96" fmla="*/ 608 w 667"/>
                    <a:gd name="T97" fmla="*/ 68 h 233"/>
                    <a:gd name="T98" fmla="*/ 619 w 667"/>
                    <a:gd name="T99" fmla="*/ 60 h 233"/>
                    <a:gd name="T100" fmla="*/ 626 w 667"/>
                    <a:gd name="T101" fmla="*/ 57 h 233"/>
                    <a:gd name="T102" fmla="*/ 639 w 667"/>
                    <a:gd name="T103" fmla="*/ 56 h 233"/>
                    <a:gd name="T104" fmla="*/ 652 w 667"/>
                    <a:gd name="T105" fmla="*/ 33 h 233"/>
                    <a:gd name="T106" fmla="*/ 663 w 667"/>
                    <a:gd name="T107" fmla="*/ 27 h 233"/>
                    <a:gd name="T108" fmla="*/ 664 w 667"/>
                    <a:gd name="T109" fmla="*/ 20 h 233"/>
                    <a:gd name="T110" fmla="*/ 666 w 667"/>
                    <a:gd name="T111" fmla="*/ 14 h 233"/>
                    <a:gd name="T112" fmla="*/ 665 w 667"/>
                    <a:gd name="T113" fmla="*/ 6 h 233"/>
                    <a:gd name="T114" fmla="*/ 667 w 667"/>
                    <a:gd name="T11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7" h="233">
                      <a:moveTo>
                        <a:pt x="667" y="0"/>
                      </a:moveTo>
                      <a:lnTo>
                        <a:pt x="531" y="16"/>
                      </a:lnTo>
                      <a:lnTo>
                        <a:pt x="524" y="21"/>
                      </a:lnTo>
                      <a:lnTo>
                        <a:pt x="188" y="52"/>
                      </a:lnTo>
                      <a:lnTo>
                        <a:pt x="183" y="48"/>
                      </a:lnTo>
                      <a:lnTo>
                        <a:pt x="169" y="50"/>
                      </a:lnTo>
                      <a:lnTo>
                        <a:pt x="172" y="56"/>
                      </a:lnTo>
                      <a:lnTo>
                        <a:pt x="172" y="65"/>
                      </a:lnTo>
                      <a:lnTo>
                        <a:pt x="54" y="75"/>
                      </a:lnTo>
                      <a:lnTo>
                        <a:pt x="47" y="89"/>
                      </a:lnTo>
                      <a:lnTo>
                        <a:pt x="43" y="107"/>
                      </a:lnTo>
                      <a:lnTo>
                        <a:pt x="45" y="112"/>
                      </a:lnTo>
                      <a:lnTo>
                        <a:pt x="41" y="128"/>
                      </a:lnTo>
                      <a:lnTo>
                        <a:pt x="38" y="132"/>
                      </a:lnTo>
                      <a:lnTo>
                        <a:pt x="39" y="137"/>
                      </a:lnTo>
                      <a:lnTo>
                        <a:pt x="36" y="146"/>
                      </a:lnTo>
                      <a:lnTo>
                        <a:pt x="26" y="157"/>
                      </a:lnTo>
                      <a:lnTo>
                        <a:pt x="22" y="178"/>
                      </a:lnTo>
                      <a:lnTo>
                        <a:pt x="11" y="192"/>
                      </a:lnTo>
                      <a:lnTo>
                        <a:pt x="13" y="206"/>
                      </a:lnTo>
                      <a:lnTo>
                        <a:pt x="12" y="224"/>
                      </a:lnTo>
                      <a:lnTo>
                        <a:pt x="9" y="225"/>
                      </a:lnTo>
                      <a:lnTo>
                        <a:pt x="0" y="233"/>
                      </a:lnTo>
                      <a:lnTo>
                        <a:pt x="172" y="221"/>
                      </a:lnTo>
                      <a:lnTo>
                        <a:pt x="387" y="202"/>
                      </a:lnTo>
                      <a:lnTo>
                        <a:pt x="470" y="192"/>
                      </a:lnTo>
                      <a:lnTo>
                        <a:pt x="472" y="168"/>
                      </a:lnTo>
                      <a:lnTo>
                        <a:pt x="479" y="168"/>
                      </a:lnTo>
                      <a:lnTo>
                        <a:pt x="483" y="168"/>
                      </a:lnTo>
                      <a:lnTo>
                        <a:pt x="489" y="161"/>
                      </a:lnTo>
                      <a:lnTo>
                        <a:pt x="490" y="155"/>
                      </a:lnTo>
                      <a:lnTo>
                        <a:pt x="489" y="151"/>
                      </a:lnTo>
                      <a:lnTo>
                        <a:pt x="492" y="145"/>
                      </a:lnTo>
                      <a:lnTo>
                        <a:pt x="498" y="137"/>
                      </a:lnTo>
                      <a:lnTo>
                        <a:pt x="515" y="130"/>
                      </a:lnTo>
                      <a:lnTo>
                        <a:pt x="534" y="125"/>
                      </a:lnTo>
                      <a:lnTo>
                        <a:pt x="553" y="108"/>
                      </a:lnTo>
                      <a:lnTo>
                        <a:pt x="561" y="105"/>
                      </a:lnTo>
                      <a:lnTo>
                        <a:pt x="572" y="94"/>
                      </a:lnTo>
                      <a:lnTo>
                        <a:pt x="575" y="84"/>
                      </a:lnTo>
                      <a:lnTo>
                        <a:pt x="577" y="84"/>
                      </a:lnTo>
                      <a:lnTo>
                        <a:pt x="582" y="84"/>
                      </a:lnTo>
                      <a:lnTo>
                        <a:pt x="585" y="80"/>
                      </a:lnTo>
                      <a:lnTo>
                        <a:pt x="587" y="77"/>
                      </a:lnTo>
                      <a:lnTo>
                        <a:pt x="593" y="71"/>
                      </a:lnTo>
                      <a:lnTo>
                        <a:pt x="595" y="72"/>
                      </a:lnTo>
                      <a:lnTo>
                        <a:pt x="601" y="75"/>
                      </a:lnTo>
                      <a:lnTo>
                        <a:pt x="607" y="72"/>
                      </a:lnTo>
                      <a:lnTo>
                        <a:pt x="608" y="68"/>
                      </a:lnTo>
                      <a:lnTo>
                        <a:pt x="619" y="60"/>
                      </a:lnTo>
                      <a:lnTo>
                        <a:pt x="626" y="57"/>
                      </a:lnTo>
                      <a:lnTo>
                        <a:pt x="639" y="56"/>
                      </a:lnTo>
                      <a:lnTo>
                        <a:pt x="652" y="33"/>
                      </a:lnTo>
                      <a:lnTo>
                        <a:pt x="663" y="27"/>
                      </a:lnTo>
                      <a:lnTo>
                        <a:pt x="664" y="20"/>
                      </a:lnTo>
                      <a:lnTo>
                        <a:pt x="666" y="14"/>
                      </a:lnTo>
                      <a:lnTo>
                        <a:pt x="665" y="6"/>
                      </a:lnTo>
                      <a:lnTo>
                        <a:pt x="667" y="0"/>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0" name="Freeform 45">
                  <a:extLst>
                    <a:ext uri="{FF2B5EF4-FFF2-40B4-BE49-F238E27FC236}">
                      <a16:creationId xmlns:a16="http://schemas.microsoft.com/office/drawing/2014/main" id="{F8A1FB5D-BA62-44FB-A05D-43B1069F4B19}"/>
                    </a:ext>
                  </a:extLst>
                </p:cNvPr>
                <p:cNvSpPr>
                  <a:spLocks/>
                </p:cNvSpPr>
                <p:nvPr/>
              </p:nvSpPr>
              <p:spPr bwMode="auto">
                <a:xfrm>
                  <a:off x="4406" y="2466"/>
                  <a:ext cx="287" cy="457"/>
                </a:xfrm>
                <a:custGeom>
                  <a:avLst/>
                  <a:gdLst>
                    <a:gd name="T0" fmla="*/ 0 w 313"/>
                    <a:gd name="T1" fmla="*/ 19 h 498"/>
                    <a:gd name="T2" fmla="*/ 8 w 313"/>
                    <a:gd name="T3" fmla="*/ 28 h 498"/>
                    <a:gd name="T4" fmla="*/ 2 w 313"/>
                    <a:gd name="T5" fmla="*/ 329 h 498"/>
                    <a:gd name="T6" fmla="*/ 3 w 313"/>
                    <a:gd name="T7" fmla="*/ 343 h 498"/>
                    <a:gd name="T8" fmla="*/ 22 w 313"/>
                    <a:gd name="T9" fmla="*/ 495 h 498"/>
                    <a:gd name="T10" fmla="*/ 26 w 313"/>
                    <a:gd name="T11" fmla="*/ 492 h 498"/>
                    <a:gd name="T12" fmla="*/ 31 w 313"/>
                    <a:gd name="T13" fmla="*/ 489 h 498"/>
                    <a:gd name="T14" fmla="*/ 44 w 313"/>
                    <a:gd name="T15" fmla="*/ 494 h 498"/>
                    <a:gd name="T16" fmla="*/ 47 w 313"/>
                    <a:gd name="T17" fmla="*/ 487 h 498"/>
                    <a:gd name="T18" fmla="*/ 50 w 313"/>
                    <a:gd name="T19" fmla="*/ 466 h 498"/>
                    <a:gd name="T20" fmla="*/ 55 w 313"/>
                    <a:gd name="T21" fmla="*/ 450 h 498"/>
                    <a:gd name="T22" fmla="*/ 64 w 313"/>
                    <a:gd name="T23" fmla="*/ 466 h 498"/>
                    <a:gd name="T24" fmla="*/ 63 w 313"/>
                    <a:gd name="T25" fmla="*/ 471 h 498"/>
                    <a:gd name="T26" fmla="*/ 67 w 313"/>
                    <a:gd name="T27" fmla="*/ 483 h 498"/>
                    <a:gd name="T28" fmla="*/ 77 w 313"/>
                    <a:gd name="T29" fmla="*/ 497 h 498"/>
                    <a:gd name="T30" fmla="*/ 86 w 313"/>
                    <a:gd name="T31" fmla="*/ 498 h 498"/>
                    <a:gd name="T32" fmla="*/ 93 w 313"/>
                    <a:gd name="T33" fmla="*/ 497 h 498"/>
                    <a:gd name="T34" fmla="*/ 103 w 313"/>
                    <a:gd name="T35" fmla="*/ 486 h 498"/>
                    <a:gd name="T36" fmla="*/ 106 w 313"/>
                    <a:gd name="T37" fmla="*/ 485 h 498"/>
                    <a:gd name="T38" fmla="*/ 111 w 313"/>
                    <a:gd name="T39" fmla="*/ 481 h 498"/>
                    <a:gd name="T40" fmla="*/ 111 w 313"/>
                    <a:gd name="T41" fmla="*/ 478 h 498"/>
                    <a:gd name="T42" fmla="*/ 109 w 313"/>
                    <a:gd name="T43" fmla="*/ 476 h 498"/>
                    <a:gd name="T44" fmla="*/ 104 w 313"/>
                    <a:gd name="T45" fmla="*/ 474 h 498"/>
                    <a:gd name="T46" fmla="*/ 104 w 313"/>
                    <a:gd name="T47" fmla="*/ 471 h 498"/>
                    <a:gd name="T48" fmla="*/ 108 w 313"/>
                    <a:gd name="T49" fmla="*/ 462 h 498"/>
                    <a:gd name="T50" fmla="*/ 107 w 313"/>
                    <a:gd name="T51" fmla="*/ 458 h 498"/>
                    <a:gd name="T52" fmla="*/ 100 w 313"/>
                    <a:gd name="T53" fmla="*/ 453 h 498"/>
                    <a:gd name="T54" fmla="*/ 98 w 313"/>
                    <a:gd name="T55" fmla="*/ 453 h 498"/>
                    <a:gd name="T56" fmla="*/ 93 w 313"/>
                    <a:gd name="T57" fmla="*/ 449 h 498"/>
                    <a:gd name="T58" fmla="*/ 87 w 313"/>
                    <a:gd name="T59" fmla="*/ 439 h 498"/>
                    <a:gd name="T60" fmla="*/ 86 w 313"/>
                    <a:gd name="T61" fmla="*/ 432 h 498"/>
                    <a:gd name="T62" fmla="*/ 88 w 313"/>
                    <a:gd name="T63" fmla="*/ 430 h 498"/>
                    <a:gd name="T64" fmla="*/ 87 w 313"/>
                    <a:gd name="T65" fmla="*/ 427 h 498"/>
                    <a:gd name="T66" fmla="*/ 87 w 313"/>
                    <a:gd name="T67" fmla="*/ 423 h 498"/>
                    <a:gd name="T68" fmla="*/ 313 w 313"/>
                    <a:gd name="T69" fmla="*/ 401 h 498"/>
                    <a:gd name="T70" fmla="*/ 311 w 313"/>
                    <a:gd name="T71" fmla="*/ 394 h 498"/>
                    <a:gd name="T72" fmla="*/ 301 w 313"/>
                    <a:gd name="T73" fmla="*/ 378 h 498"/>
                    <a:gd name="T74" fmla="*/ 303 w 313"/>
                    <a:gd name="T75" fmla="*/ 352 h 498"/>
                    <a:gd name="T76" fmla="*/ 292 w 313"/>
                    <a:gd name="T77" fmla="*/ 330 h 498"/>
                    <a:gd name="T78" fmla="*/ 291 w 313"/>
                    <a:gd name="T79" fmla="*/ 311 h 498"/>
                    <a:gd name="T80" fmla="*/ 296 w 313"/>
                    <a:gd name="T81" fmla="*/ 299 h 498"/>
                    <a:gd name="T82" fmla="*/ 296 w 313"/>
                    <a:gd name="T83" fmla="*/ 286 h 498"/>
                    <a:gd name="T84" fmla="*/ 304 w 313"/>
                    <a:gd name="T85" fmla="*/ 274 h 498"/>
                    <a:gd name="T86" fmla="*/ 305 w 313"/>
                    <a:gd name="T87" fmla="*/ 271 h 498"/>
                    <a:gd name="T88" fmla="*/ 298 w 313"/>
                    <a:gd name="T89" fmla="*/ 262 h 498"/>
                    <a:gd name="T90" fmla="*/ 301 w 313"/>
                    <a:gd name="T91" fmla="*/ 254 h 498"/>
                    <a:gd name="T92" fmla="*/ 295 w 313"/>
                    <a:gd name="T93" fmla="*/ 247 h 498"/>
                    <a:gd name="T94" fmla="*/ 288 w 313"/>
                    <a:gd name="T95" fmla="*/ 242 h 498"/>
                    <a:gd name="T96" fmla="*/ 285 w 313"/>
                    <a:gd name="T97" fmla="*/ 236 h 498"/>
                    <a:gd name="T98" fmla="*/ 280 w 313"/>
                    <a:gd name="T99" fmla="*/ 221 h 498"/>
                    <a:gd name="T100" fmla="*/ 275 w 313"/>
                    <a:gd name="T101" fmla="*/ 215 h 498"/>
                    <a:gd name="T102" fmla="*/ 215 w 313"/>
                    <a:gd name="T103" fmla="*/ 0 h 498"/>
                    <a:gd name="T104" fmla="*/ 0 w 313"/>
                    <a:gd name="T105" fmla="*/ 1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3" h="498">
                      <a:moveTo>
                        <a:pt x="0" y="19"/>
                      </a:moveTo>
                      <a:lnTo>
                        <a:pt x="8" y="28"/>
                      </a:lnTo>
                      <a:lnTo>
                        <a:pt x="2" y="329"/>
                      </a:lnTo>
                      <a:lnTo>
                        <a:pt x="3" y="343"/>
                      </a:lnTo>
                      <a:lnTo>
                        <a:pt x="22" y="495"/>
                      </a:lnTo>
                      <a:lnTo>
                        <a:pt x="26" y="492"/>
                      </a:lnTo>
                      <a:lnTo>
                        <a:pt x="31" y="489"/>
                      </a:lnTo>
                      <a:lnTo>
                        <a:pt x="44" y="494"/>
                      </a:lnTo>
                      <a:lnTo>
                        <a:pt x="47" y="487"/>
                      </a:lnTo>
                      <a:lnTo>
                        <a:pt x="50" y="466"/>
                      </a:lnTo>
                      <a:lnTo>
                        <a:pt x="55" y="450"/>
                      </a:lnTo>
                      <a:lnTo>
                        <a:pt x="64" y="466"/>
                      </a:lnTo>
                      <a:lnTo>
                        <a:pt x="63" y="471"/>
                      </a:lnTo>
                      <a:lnTo>
                        <a:pt x="67" y="483"/>
                      </a:lnTo>
                      <a:lnTo>
                        <a:pt x="77" y="497"/>
                      </a:lnTo>
                      <a:lnTo>
                        <a:pt x="86" y="498"/>
                      </a:lnTo>
                      <a:lnTo>
                        <a:pt x="93" y="497"/>
                      </a:lnTo>
                      <a:lnTo>
                        <a:pt x="103" y="486"/>
                      </a:lnTo>
                      <a:lnTo>
                        <a:pt x="106" y="485"/>
                      </a:lnTo>
                      <a:lnTo>
                        <a:pt x="111" y="481"/>
                      </a:lnTo>
                      <a:lnTo>
                        <a:pt x="111" y="478"/>
                      </a:lnTo>
                      <a:lnTo>
                        <a:pt x="109" y="476"/>
                      </a:lnTo>
                      <a:lnTo>
                        <a:pt x="104" y="474"/>
                      </a:lnTo>
                      <a:lnTo>
                        <a:pt x="104" y="471"/>
                      </a:lnTo>
                      <a:lnTo>
                        <a:pt x="108" y="462"/>
                      </a:lnTo>
                      <a:lnTo>
                        <a:pt x="107" y="458"/>
                      </a:lnTo>
                      <a:lnTo>
                        <a:pt x="100" y="453"/>
                      </a:lnTo>
                      <a:lnTo>
                        <a:pt x="98" y="453"/>
                      </a:lnTo>
                      <a:lnTo>
                        <a:pt x="93" y="449"/>
                      </a:lnTo>
                      <a:lnTo>
                        <a:pt x="87" y="439"/>
                      </a:lnTo>
                      <a:lnTo>
                        <a:pt x="86" y="432"/>
                      </a:lnTo>
                      <a:lnTo>
                        <a:pt x="88" y="430"/>
                      </a:lnTo>
                      <a:lnTo>
                        <a:pt x="87" y="427"/>
                      </a:lnTo>
                      <a:lnTo>
                        <a:pt x="87" y="423"/>
                      </a:lnTo>
                      <a:lnTo>
                        <a:pt x="313" y="401"/>
                      </a:lnTo>
                      <a:lnTo>
                        <a:pt x="311" y="394"/>
                      </a:lnTo>
                      <a:lnTo>
                        <a:pt x="301" y="378"/>
                      </a:lnTo>
                      <a:lnTo>
                        <a:pt x="303" y="352"/>
                      </a:lnTo>
                      <a:lnTo>
                        <a:pt x="292" y="330"/>
                      </a:lnTo>
                      <a:lnTo>
                        <a:pt x="291" y="311"/>
                      </a:lnTo>
                      <a:lnTo>
                        <a:pt x="296" y="299"/>
                      </a:lnTo>
                      <a:lnTo>
                        <a:pt x="296" y="286"/>
                      </a:lnTo>
                      <a:lnTo>
                        <a:pt x="304" y="274"/>
                      </a:lnTo>
                      <a:lnTo>
                        <a:pt x="305" y="271"/>
                      </a:lnTo>
                      <a:lnTo>
                        <a:pt x="298" y="262"/>
                      </a:lnTo>
                      <a:lnTo>
                        <a:pt x="301" y="254"/>
                      </a:lnTo>
                      <a:lnTo>
                        <a:pt x="295" y="247"/>
                      </a:lnTo>
                      <a:lnTo>
                        <a:pt x="288" y="242"/>
                      </a:lnTo>
                      <a:lnTo>
                        <a:pt x="285" y="236"/>
                      </a:lnTo>
                      <a:lnTo>
                        <a:pt x="280" y="221"/>
                      </a:lnTo>
                      <a:lnTo>
                        <a:pt x="275" y="215"/>
                      </a:lnTo>
                      <a:lnTo>
                        <a:pt x="215" y="0"/>
                      </a:lnTo>
                      <a:lnTo>
                        <a:pt x="0" y="19"/>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1" name="Freeform 46">
                  <a:extLst>
                    <a:ext uri="{FF2B5EF4-FFF2-40B4-BE49-F238E27FC236}">
                      <a16:creationId xmlns:a16="http://schemas.microsoft.com/office/drawing/2014/main" id="{968B83D1-0B29-424B-97B8-E58B2C873680}"/>
                    </a:ext>
                  </a:extLst>
                </p:cNvPr>
                <p:cNvSpPr>
                  <a:spLocks/>
                </p:cNvSpPr>
                <p:nvPr/>
              </p:nvSpPr>
              <p:spPr bwMode="auto">
                <a:xfrm>
                  <a:off x="4486" y="2814"/>
                  <a:ext cx="680" cy="514"/>
                </a:xfrm>
                <a:custGeom>
                  <a:avLst/>
                  <a:gdLst>
                    <a:gd name="T0" fmla="*/ 1 w 741"/>
                    <a:gd name="T1" fmla="*/ 47 h 559"/>
                    <a:gd name="T2" fmla="*/ 1 w 741"/>
                    <a:gd name="T3" fmla="*/ 59 h 559"/>
                    <a:gd name="T4" fmla="*/ 14 w 741"/>
                    <a:gd name="T5" fmla="*/ 73 h 559"/>
                    <a:gd name="T6" fmla="*/ 18 w 741"/>
                    <a:gd name="T7" fmla="*/ 91 h 559"/>
                    <a:gd name="T8" fmla="*/ 25 w 741"/>
                    <a:gd name="T9" fmla="*/ 98 h 559"/>
                    <a:gd name="T10" fmla="*/ 20 w 741"/>
                    <a:gd name="T11" fmla="*/ 111 h 559"/>
                    <a:gd name="T12" fmla="*/ 39 w 741"/>
                    <a:gd name="T13" fmla="*/ 106 h 559"/>
                    <a:gd name="T14" fmla="*/ 51 w 741"/>
                    <a:gd name="T15" fmla="*/ 91 h 559"/>
                    <a:gd name="T16" fmla="*/ 62 w 741"/>
                    <a:gd name="T17" fmla="*/ 90 h 559"/>
                    <a:gd name="T18" fmla="*/ 54 w 741"/>
                    <a:gd name="T19" fmla="*/ 102 h 559"/>
                    <a:gd name="T20" fmla="*/ 113 w 741"/>
                    <a:gd name="T21" fmla="*/ 85 h 559"/>
                    <a:gd name="T22" fmla="*/ 111 w 741"/>
                    <a:gd name="T23" fmla="*/ 94 h 559"/>
                    <a:gd name="T24" fmla="*/ 149 w 741"/>
                    <a:gd name="T25" fmla="*/ 104 h 559"/>
                    <a:gd name="T26" fmla="*/ 171 w 741"/>
                    <a:gd name="T27" fmla="*/ 109 h 559"/>
                    <a:gd name="T28" fmla="*/ 189 w 741"/>
                    <a:gd name="T29" fmla="*/ 114 h 559"/>
                    <a:gd name="T30" fmla="*/ 189 w 741"/>
                    <a:gd name="T31" fmla="*/ 119 h 559"/>
                    <a:gd name="T32" fmla="*/ 214 w 741"/>
                    <a:gd name="T33" fmla="*/ 146 h 559"/>
                    <a:gd name="T34" fmla="*/ 209 w 741"/>
                    <a:gd name="T35" fmla="*/ 152 h 559"/>
                    <a:gd name="T36" fmla="*/ 206 w 741"/>
                    <a:gd name="T37" fmla="*/ 157 h 559"/>
                    <a:gd name="T38" fmla="*/ 244 w 741"/>
                    <a:gd name="T39" fmla="*/ 146 h 559"/>
                    <a:gd name="T40" fmla="*/ 297 w 741"/>
                    <a:gd name="T41" fmla="*/ 124 h 559"/>
                    <a:gd name="T42" fmla="*/ 300 w 741"/>
                    <a:gd name="T43" fmla="*/ 105 h 559"/>
                    <a:gd name="T44" fmla="*/ 369 w 741"/>
                    <a:gd name="T45" fmla="*/ 128 h 559"/>
                    <a:gd name="T46" fmla="*/ 413 w 741"/>
                    <a:gd name="T47" fmla="*/ 168 h 559"/>
                    <a:gd name="T48" fmla="*/ 443 w 741"/>
                    <a:gd name="T49" fmla="*/ 181 h 559"/>
                    <a:gd name="T50" fmla="*/ 461 w 741"/>
                    <a:gd name="T51" fmla="*/ 213 h 559"/>
                    <a:gd name="T52" fmla="*/ 458 w 741"/>
                    <a:gd name="T53" fmla="*/ 287 h 559"/>
                    <a:gd name="T54" fmla="*/ 477 w 741"/>
                    <a:gd name="T55" fmla="*/ 326 h 559"/>
                    <a:gd name="T56" fmla="*/ 473 w 741"/>
                    <a:gd name="T57" fmla="*/ 299 h 559"/>
                    <a:gd name="T58" fmla="*/ 489 w 741"/>
                    <a:gd name="T59" fmla="*/ 309 h 559"/>
                    <a:gd name="T60" fmla="*/ 497 w 741"/>
                    <a:gd name="T61" fmla="*/ 300 h 559"/>
                    <a:gd name="T62" fmla="*/ 497 w 741"/>
                    <a:gd name="T63" fmla="*/ 317 h 559"/>
                    <a:gd name="T64" fmla="*/ 482 w 741"/>
                    <a:gd name="T65" fmla="*/ 342 h 559"/>
                    <a:gd name="T66" fmla="*/ 497 w 741"/>
                    <a:gd name="T67" fmla="*/ 365 h 559"/>
                    <a:gd name="T68" fmla="*/ 534 w 741"/>
                    <a:gd name="T69" fmla="*/ 408 h 559"/>
                    <a:gd name="T70" fmla="*/ 546 w 741"/>
                    <a:gd name="T71" fmla="*/ 414 h 559"/>
                    <a:gd name="T72" fmla="*/ 563 w 741"/>
                    <a:gd name="T73" fmla="*/ 442 h 559"/>
                    <a:gd name="T74" fmla="*/ 593 w 741"/>
                    <a:gd name="T75" fmla="*/ 491 h 559"/>
                    <a:gd name="T76" fmla="*/ 648 w 741"/>
                    <a:gd name="T77" fmla="*/ 530 h 559"/>
                    <a:gd name="T78" fmla="*/ 669 w 741"/>
                    <a:gd name="T79" fmla="*/ 542 h 559"/>
                    <a:gd name="T80" fmla="*/ 662 w 741"/>
                    <a:gd name="T81" fmla="*/ 547 h 559"/>
                    <a:gd name="T82" fmla="*/ 655 w 741"/>
                    <a:gd name="T83" fmla="*/ 553 h 559"/>
                    <a:gd name="T84" fmla="*/ 677 w 741"/>
                    <a:gd name="T85" fmla="*/ 555 h 559"/>
                    <a:gd name="T86" fmla="*/ 730 w 741"/>
                    <a:gd name="T87" fmla="*/ 526 h 559"/>
                    <a:gd name="T88" fmla="*/ 726 w 741"/>
                    <a:gd name="T89" fmla="*/ 494 h 559"/>
                    <a:gd name="T90" fmla="*/ 732 w 741"/>
                    <a:gd name="T91" fmla="*/ 444 h 559"/>
                    <a:gd name="T92" fmla="*/ 726 w 741"/>
                    <a:gd name="T93" fmla="*/ 367 h 559"/>
                    <a:gd name="T94" fmla="*/ 681 w 741"/>
                    <a:gd name="T95" fmla="*/ 290 h 559"/>
                    <a:gd name="T96" fmla="*/ 661 w 741"/>
                    <a:gd name="T97" fmla="*/ 254 h 559"/>
                    <a:gd name="T98" fmla="*/ 661 w 741"/>
                    <a:gd name="T99" fmla="*/ 226 h 559"/>
                    <a:gd name="T100" fmla="*/ 621 w 741"/>
                    <a:gd name="T101" fmla="*/ 174 h 559"/>
                    <a:gd name="T102" fmla="*/ 593 w 741"/>
                    <a:gd name="T103" fmla="*/ 142 h 559"/>
                    <a:gd name="T104" fmla="*/ 552 w 741"/>
                    <a:gd name="T105" fmla="*/ 50 h 559"/>
                    <a:gd name="T106" fmla="*/ 543 w 741"/>
                    <a:gd name="T107" fmla="*/ 37 h 559"/>
                    <a:gd name="T108" fmla="*/ 530 w 741"/>
                    <a:gd name="T109" fmla="*/ 9 h 559"/>
                    <a:gd name="T110" fmla="*/ 492 w 741"/>
                    <a:gd name="T111" fmla="*/ 5 h 559"/>
                    <a:gd name="T112" fmla="*/ 496 w 741"/>
                    <a:gd name="T113" fmla="*/ 39 h 559"/>
                    <a:gd name="T114" fmla="*/ 477 w 741"/>
                    <a:gd name="T115" fmla="*/ 45 h 559"/>
                    <a:gd name="T116" fmla="*/ 235 w 741"/>
                    <a:gd name="T117" fmla="*/ 40 h 559"/>
                    <a:gd name="T118" fmla="*/ 227 w 741"/>
                    <a:gd name="T119" fmla="*/ 2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1" h="559">
                      <a:moveTo>
                        <a:pt x="227" y="21"/>
                      </a:moveTo>
                      <a:lnTo>
                        <a:pt x="1" y="43"/>
                      </a:lnTo>
                      <a:lnTo>
                        <a:pt x="1" y="47"/>
                      </a:lnTo>
                      <a:lnTo>
                        <a:pt x="2" y="50"/>
                      </a:lnTo>
                      <a:lnTo>
                        <a:pt x="0" y="52"/>
                      </a:lnTo>
                      <a:lnTo>
                        <a:pt x="1" y="59"/>
                      </a:lnTo>
                      <a:lnTo>
                        <a:pt x="7" y="69"/>
                      </a:lnTo>
                      <a:lnTo>
                        <a:pt x="12" y="73"/>
                      </a:lnTo>
                      <a:lnTo>
                        <a:pt x="14" y="73"/>
                      </a:lnTo>
                      <a:lnTo>
                        <a:pt x="21" y="78"/>
                      </a:lnTo>
                      <a:lnTo>
                        <a:pt x="22" y="82"/>
                      </a:lnTo>
                      <a:lnTo>
                        <a:pt x="18" y="91"/>
                      </a:lnTo>
                      <a:lnTo>
                        <a:pt x="18" y="94"/>
                      </a:lnTo>
                      <a:lnTo>
                        <a:pt x="23" y="96"/>
                      </a:lnTo>
                      <a:lnTo>
                        <a:pt x="25" y="98"/>
                      </a:lnTo>
                      <a:lnTo>
                        <a:pt x="25" y="101"/>
                      </a:lnTo>
                      <a:lnTo>
                        <a:pt x="20" y="105"/>
                      </a:lnTo>
                      <a:lnTo>
                        <a:pt x="20" y="111"/>
                      </a:lnTo>
                      <a:lnTo>
                        <a:pt x="22" y="113"/>
                      </a:lnTo>
                      <a:lnTo>
                        <a:pt x="35" y="109"/>
                      </a:lnTo>
                      <a:lnTo>
                        <a:pt x="39" y="106"/>
                      </a:lnTo>
                      <a:lnTo>
                        <a:pt x="44" y="94"/>
                      </a:lnTo>
                      <a:lnTo>
                        <a:pt x="45" y="90"/>
                      </a:lnTo>
                      <a:lnTo>
                        <a:pt x="51" y="91"/>
                      </a:lnTo>
                      <a:lnTo>
                        <a:pt x="56" y="91"/>
                      </a:lnTo>
                      <a:lnTo>
                        <a:pt x="58" y="90"/>
                      </a:lnTo>
                      <a:lnTo>
                        <a:pt x="62" y="90"/>
                      </a:lnTo>
                      <a:lnTo>
                        <a:pt x="61" y="94"/>
                      </a:lnTo>
                      <a:lnTo>
                        <a:pt x="53" y="101"/>
                      </a:lnTo>
                      <a:lnTo>
                        <a:pt x="54" y="102"/>
                      </a:lnTo>
                      <a:lnTo>
                        <a:pt x="61" y="99"/>
                      </a:lnTo>
                      <a:lnTo>
                        <a:pt x="72" y="98"/>
                      </a:lnTo>
                      <a:lnTo>
                        <a:pt x="113" y="85"/>
                      </a:lnTo>
                      <a:lnTo>
                        <a:pt x="118" y="85"/>
                      </a:lnTo>
                      <a:lnTo>
                        <a:pt x="118" y="88"/>
                      </a:lnTo>
                      <a:lnTo>
                        <a:pt x="111" y="94"/>
                      </a:lnTo>
                      <a:lnTo>
                        <a:pt x="114" y="96"/>
                      </a:lnTo>
                      <a:lnTo>
                        <a:pt x="132" y="98"/>
                      </a:lnTo>
                      <a:lnTo>
                        <a:pt x="149" y="104"/>
                      </a:lnTo>
                      <a:lnTo>
                        <a:pt x="167" y="114"/>
                      </a:lnTo>
                      <a:lnTo>
                        <a:pt x="172" y="114"/>
                      </a:lnTo>
                      <a:lnTo>
                        <a:pt x="171" y="109"/>
                      </a:lnTo>
                      <a:lnTo>
                        <a:pt x="175" y="106"/>
                      </a:lnTo>
                      <a:lnTo>
                        <a:pt x="179" y="110"/>
                      </a:lnTo>
                      <a:lnTo>
                        <a:pt x="189" y="114"/>
                      </a:lnTo>
                      <a:lnTo>
                        <a:pt x="192" y="115"/>
                      </a:lnTo>
                      <a:lnTo>
                        <a:pt x="193" y="117"/>
                      </a:lnTo>
                      <a:lnTo>
                        <a:pt x="189" y="119"/>
                      </a:lnTo>
                      <a:lnTo>
                        <a:pt x="190" y="122"/>
                      </a:lnTo>
                      <a:lnTo>
                        <a:pt x="213" y="139"/>
                      </a:lnTo>
                      <a:lnTo>
                        <a:pt x="214" y="146"/>
                      </a:lnTo>
                      <a:lnTo>
                        <a:pt x="213" y="151"/>
                      </a:lnTo>
                      <a:lnTo>
                        <a:pt x="212" y="155"/>
                      </a:lnTo>
                      <a:lnTo>
                        <a:pt x="209" y="152"/>
                      </a:lnTo>
                      <a:lnTo>
                        <a:pt x="207" y="148"/>
                      </a:lnTo>
                      <a:lnTo>
                        <a:pt x="205" y="152"/>
                      </a:lnTo>
                      <a:lnTo>
                        <a:pt x="206" y="157"/>
                      </a:lnTo>
                      <a:lnTo>
                        <a:pt x="211" y="158"/>
                      </a:lnTo>
                      <a:lnTo>
                        <a:pt x="242" y="150"/>
                      </a:lnTo>
                      <a:lnTo>
                        <a:pt x="244" y="146"/>
                      </a:lnTo>
                      <a:lnTo>
                        <a:pt x="255" y="145"/>
                      </a:lnTo>
                      <a:lnTo>
                        <a:pt x="281" y="124"/>
                      </a:lnTo>
                      <a:lnTo>
                        <a:pt x="297" y="124"/>
                      </a:lnTo>
                      <a:lnTo>
                        <a:pt x="297" y="120"/>
                      </a:lnTo>
                      <a:lnTo>
                        <a:pt x="295" y="116"/>
                      </a:lnTo>
                      <a:lnTo>
                        <a:pt x="300" y="105"/>
                      </a:lnTo>
                      <a:lnTo>
                        <a:pt x="327" y="102"/>
                      </a:lnTo>
                      <a:lnTo>
                        <a:pt x="368" y="122"/>
                      </a:lnTo>
                      <a:lnTo>
                        <a:pt x="369" y="128"/>
                      </a:lnTo>
                      <a:lnTo>
                        <a:pt x="379" y="136"/>
                      </a:lnTo>
                      <a:lnTo>
                        <a:pt x="388" y="150"/>
                      </a:lnTo>
                      <a:lnTo>
                        <a:pt x="413" y="168"/>
                      </a:lnTo>
                      <a:lnTo>
                        <a:pt x="417" y="175"/>
                      </a:lnTo>
                      <a:lnTo>
                        <a:pt x="424" y="182"/>
                      </a:lnTo>
                      <a:lnTo>
                        <a:pt x="443" y="181"/>
                      </a:lnTo>
                      <a:lnTo>
                        <a:pt x="458" y="203"/>
                      </a:lnTo>
                      <a:lnTo>
                        <a:pt x="462" y="206"/>
                      </a:lnTo>
                      <a:lnTo>
                        <a:pt x="461" y="213"/>
                      </a:lnTo>
                      <a:lnTo>
                        <a:pt x="467" y="235"/>
                      </a:lnTo>
                      <a:lnTo>
                        <a:pt x="465" y="261"/>
                      </a:lnTo>
                      <a:lnTo>
                        <a:pt x="458" y="287"/>
                      </a:lnTo>
                      <a:lnTo>
                        <a:pt x="459" y="309"/>
                      </a:lnTo>
                      <a:lnTo>
                        <a:pt x="462" y="316"/>
                      </a:lnTo>
                      <a:lnTo>
                        <a:pt x="477" y="326"/>
                      </a:lnTo>
                      <a:lnTo>
                        <a:pt x="482" y="318"/>
                      </a:lnTo>
                      <a:lnTo>
                        <a:pt x="477" y="314"/>
                      </a:lnTo>
                      <a:lnTo>
                        <a:pt x="473" y="299"/>
                      </a:lnTo>
                      <a:lnTo>
                        <a:pt x="474" y="297"/>
                      </a:lnTo>
                      <a:lnTo>
                        <a:pt x="483" y="295"/>
                      </a:lnTo>
                      <a:lnTo>
                        <a:pt x="489" y="309"/>
                      </a:lnTo>
                      <a:lnTo>
                        <a:pt x="493" y="309"/>
                      </a:lnTo>
                      <a:lnTo>
                        <a:pt x="495" y="302"/>
                      </a:lnTo>
                      <a:lnTo>
                        <a:pt x="497" y="300"/>
                      </a:lnTo>
                      <a:lnTo>
                        <a:pt x="501" y="303"/>
                      </a:lnTo>
                      <a:lnTo>
                        <a:pt x="501" y="310"/>
                      </a:lnTo>
                      <a:lnTo>
                        <a:pt x="497" y="317"/>
                      </a:lnTo>
                      <a:lnTo>
                        <a:pt x="493" y="323"/>
                      </a:lnTo>
                      <a:lnTo>
                        <a:pt x="487" y="340"/>
                      </a:lnTo>
                      <a:lnTo>
                        <a:pt x="482" y="342"/>
                      </a:lnTo>
                      <a:lnTo>
                        <a:pt x="482" y="350"/>
                      </a:lnTo>
                      <a:lnTo>
                        <a:pt x="488" y="357"/>
                      </a:lnTo>
                      <a:lnTo>
                        <a:pt x="497" y="365"/>
                      </a:lnTo>
                      <a:lnTo>
                        <a:pt x="510" y="395"/>
                      </a:lnTo>
                      <a:lnTo>
                        <a:pt x="532" y="409"/>
                      </a:lnTo>
                      <a:lnTo>
                        <a:pt x="534" y="408"/>
                      </a:lnTo>
                      <a:lnTo>
                        <a:pt x="535" y="401"/>
                      </a:lnTo>
                      <a:lnTo>
                        <a:pt x="541" y="401"/>
                      </a:lnTo>
                      <a:lnTo>
                        <a:pt x="546" y="414"/>
                      </a:lnTo>
                      <a:lnTo>
                        <a:pt x="547" y="421"/>
                      </a:lnTo>
                      <a:lnTo>
                        <a:pt x="554" y="437"/>
                      </a:lnTo>
                      <a:lnTo>
                        <a:pt x="563" y="442"/>
                      </a:lnTo>
                      <a:lnTo>
                        <a:pt x="573" y="446"/>
                      </a:lnTo>
                      <a:lnTo>
                        <a:pt x="589" y="489"/>
                      </a:lnTo>
                      <a:lnTo>
                        <a:pt x="593" y="491"/>
                      </a:lnTo>
                      <a:lnTo>
                        <a:pt x="614" y="496"/>
                      </a:lnTo>
                      <a:lnTo>
                        <a:pt x="623" y="501"/>
                      </a:lnTo>
                      <a:lnTo>
                        <a:pt x="648" y="530"/>
                      </a:lnTo>
                      <a:lnTo>
                        <a:pt x="658" y="538"/>
                      </a:lnTo>
                      <a:lnTo>
                        <a:pt x="662" y="538"/>
                      </a:lnTo>
                      <a:lnTo>
                        <a:pt x="669" y="542"/>
                      </a:lnTo>
                      <a:lnTo>
                        <a:pt x="670" y="547"/>
                      </a:lnTo>
                      <a:lnTo>
                        <a:pt x="666" y="549"/>
                      </a:lnTo>
                      <a:lnTo>
                        <a:pt x="662" y="547"/>
                      </a:lnTo>
                      <a:lnTo>
                        <a:pt x="659" y="547"/>
                      </a:lnTo>
                      <a:lnTo>
                        <a:pt x="656" y="549"/>
                      </a:lnTo>
                      <a:lnTo>
                        <a:pt x="655" y="553"/>
                      </a:lnTo>
                      <a:lnTo>
                        <a:pt x="658" y="557"/>
                      </a:lnTo>
                      <a:lnTo>
                        <a:pt x="670" y="559"/>
                      </a:lnTo>
                      <a:lnTo>
                        <a:pt x="677" y="555"/>
                      </a:lnTo>
                      <a:lnTo>
                        <a:pt x="686" y="554"/>
                      </a:lnTo>
                      <a:lnTo>
                        <a:pt x="722" y="541"/>
                      </a:lnTo>
                      <a:lnTo>
                        <a:pt x="730" y="526"/>
                      </a:lnTo>
                      <a:lnTo>
                        <a:pt x="730" y="523"/>
                      </a:lnTo>
                      <a:lnTo>
                        <a:pt x="726" y="504"/>
                      </a:lnTo>
                      <a:lnTo>
                        <a:pt x="726" y="494"/>
                      </a:lnTo>
                      <a:lnTo>
                        <a:pt x="734" y="478"/>
                      </a:lnTo>
                      <a:lnTo>
                        <a:pt x="741" y="479"/>
                      </a:lnTo>
                      <a:lnTo>
                        <a:pt x="732" y="444"/>
                      </a:lnTo>
                      <a:lnTo>
                        <a:pt x="734" y="426"/>
                      </a:lnTo>
                      <a:lnTo>
                        <a:pt x="733" y="394"/>
                      </a:lnTo>
                      <a:lnTo>
                        <a:pt x="726" y="367"/>
                      </a:lnTo>
                      <a:lnTo>
                        <a:pt x="721" y="358"/>
                      </a:lnTo>
                      <a:lnTo>
                        <a:pt x="696" y="326"/>
                      </a:lnTo>
                      <a:lnTo>
                        <a:pt x="681" y="290"/>
                      </a:lnTo>
                      <a:lnTo>
                        <a:pt x="662" y="264"/>
                      </a:lnTo>
                      <a:lnTo>
                        <a:pt x="662" y="261"/>
                      </a:lnTo>
                      <a:lnTo>
                        <a:pt x="661" y="254"/>
                      </a:lnTo>
                      <a:lnTo>
                        <a:pt x="654" y="241"/>
                      </a:lnTo>
                      <a:lnTo>
                        <a:pt x="654" y="234"/>
                      </a:lnTo>
                      <a:lnTo>
                        <a:pt x="661" y="226"/>
                      </a:lnTo>
                      <a:lnTo>
                        <a:pt x="661" y="222"/>
                      </a:lnTo>
                      <a:lnTo>
                        <a:pt x="636" y="187"/>
                      </a:lnTo>
                      <a:lnTo>
                        <a:pt x="621" y="174"/>
                      </a:lnTo>
                      <a:lnTo>
                        <a:pt x="611" y="168"/>
                      </a:lnTo>
                      <a:lnTo>
                        <a:pt x="609" y="163"/>
                      </a:lnTo>
                      <a:lnTo>
                        <a:pt x="593" y="142"/>
                      </a:lnTo>
                      <a:lnTo>
                        <a:pt x="571" y="103"/>
                      </a:lnTo>
                      <a:lnTo>
                        <a:pt x="565" y="81"/>
                      </a:lnTo>
                      <a:lnTo>
                        <a:pt x="552" y="50"/>
                      </a:lnTo>
                      <a:lnTo>
                        <a:pt x="552" y="44"/>
                      </a:lnTo>
                      <a:lnTo>
                        <a:pt x="546" y="39"/>
                      </a:lnTo>
                      <a:lnTo>
                        <a:pt x="543" y="37"/>
                      </a:lnTo>
                      <a:lnTo>
                        <a:pt x="541" y="14"/>
                      </a:lnTo>
                      <a:lnTo>
                        <a:pt x="537" y="6"/>
                      </a:lnTo>
                      <a:lnTo>
                        <a:pt x="530" y="9"/>
                      </a:lnTo>
                      <a:lnTo>
                        <a:pt x="515" y="8"/>
                      </a:lnTo>
                      <a:lnTo>
                        <a:pt x="498" y="0"/>
                      </a:lnTo>
                      <a:lnTo>
                        <a:pt x="492" y="5"/>
                      </a:lnTo>
                      <a:lnTo>
                        <a:pt x="489" y="9"/>
                      </a:lnTo>
                      <a:lnTo>
                        <a:pt x="489" y="17"/>
                      </a:lnTo>
                      <a:lnTo>
                        <a:pt x="496" y="39"/>
                      </a:lnTo>
                      <a:lnTo>
                        <a:pt x="493" y="51"/>
                      </a:lnTo>
                      <a:lnTo>
                        <a:pt x="481" y="50"/>
                      </a:lnTo>
                      <a:lnTo>
                        <a:pt x="477" y="45"/>
                      </a:lnTo>
                      <a:lnTo>
                        <a:pt x="474" y="34"/>
                      </a:lnTo>
                      <a:lnTo>
                        <a:pt x="241" y="48"/>
                      </a:lnTo>
                      <a:lnTo>
                        <a:pt x="235" y="40"/>
                      </a:lnTo>
                      <a:lnTo>
                        <a:pt x="236" y="34"/>
                      </a:lnTo>
                      <a:lnTo>
                        <a:pt x="228" y="26"/>
                      </a:lnTo>
                      <a:lnTo>
                        <a:pt x="227" y="21"/>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2" name="Freeform 47">
                  <a:extLst>
                    <a:ext uri="{FF2B5EF4-FFF2-40B4-BE49-F238E27FC236}">
                      <a16:creationId xmlns:a16="http://schemas.microsoft.com/office/drawing/2014/main" id="{82BF537A-57A1-44F4-82DA-01EE8BE32584}"/>
                    </a:ext>
                  </a:extLst>
                </p:cNvPr>
                <p:cNvSpPr>
                  <a:spLocks/>
                </p:cNvSpPr>
                <p:nvPr/>
              </p:nvSpPr>
              <p:spPr bwMode="auto">
                <a:xfrm>
                  <a:off x="4604" y="2441"/>
                  <a:ext cx="407" cy="420"/>
                </a:xfrm>
                <a:custGeom>
                  <a:avLst/>
                  <a:gdLst>
                    <a:gd name="T0" fmla="*/ 60 w 444"/>
                    <a:gd name="T1" fmla="*/ 242 h 458"/>
                    <a:gd name="T2" fmla="*/ 70 w 444"/>
                    <a:gd name="T3" fmla="*/ 263 h 458"/>
                    <a:gd name="T4" fmla="*/ 80 w 444"/>
                    <a:gd name="T5" fmla="*/ 274 h 458"/>
                    <a:gd name="T6" fmla="*/ 83 w 444"/>
                    <a:gd name="T7" fmla="*/ 289 h 458"/>
                    <a:gd name="T8" fmla="*/ 89 w 444"/>
                    <a:gd name="T9" fmla="*/ 301 h 458"/>
                    <a:gd name="T10" fmla="*/ 81 w 444"/>
                    <a:gd name="T11" fmla="*/ 326 h 458"/>
                    <a:gd name="T12" fmla="*/ 77 w 444"/>
                    <a:gd name="T13" fmla="*/ 357 h 458"/>
                    <a:gd name="T14" fmla="*/ 86 w 444"/>
                    <a:gd name="T15" fmla="*/ 405 h 458"/>
                    <a:gd name="T16" fmla="*/ 98 w 444"/>
                    <a:gd name="T17" fmla="*/ 428 h 458"/>
                    <a:gd name="T18" fmla="*/ 107 w 444"/>
                    <a:gd name="T19" fmla="*/ 441 h 458"/>
                    <a:gd name="T20" fmla="*/ 112 w 444"/>
                    <a:gd name="T21" fmla="*/ 455 h 458"/>
                    <a:gd name="T22" fmla="*/ 348 w 444"/>
                    <a:gd name="T23" fmla="*/ 452 h 458"/>
                    <a:gd name="T24" fmla="*/ 364 w 444"/>
                    <a:gd name="T25" fmla="*/ 458 h 458"/>
                    <a:gd name="T26" fmla="*/ 360 w 444"/>
                    <a:gd name="T27" fmla="*/ 424 h 458"/>
                    <a:gd name="T28" fmla="*/ 363 w 444"/>
                    <a:gd name="T29" fmla="*/ 412 h 458"/>
                    <a:gd name="T30" fmla="*/ 386 w 444"/>
                    <a:gd name="T31" fmla="*/ 415 h 458"/>
                    <a:gd name="T32" fmla="*/ 408 w 444"/>
                    <a:gd name="T33" fmla="*/ 413 h 458"/>
                    <a:gd name="T34" fmla="*/ 403 w 444"/>
                    <a:gd name="T35" fmla="*/ 388 h 458"/>
                    <a:gd name="T36" fmla="*/ 404 w 444"/>
                    <a:gd name="T37" fmla="*/ 368 h 458"/>
                    <a:gd name="T38" fmla="*/ 419 w 444"/>
                    <a:gd name="T39" fmla="*/ 317 h 458"/>
                    <a:gd name="T40" fmla="*/ 432 w 444"/>
                    <a:gd name="T41" fmla="*/ 289 h 458"/>
                    <a:gd name="T42" fmla="*/ 443 w 444"/>
                    <a:gd name="T43" fmla="*/ 280 h 458"/>
                    <a:gd name="T44" fmla="*/ 438 w 444"/>
                    <a:gd name="T45" fmla="*/ 273 h 458"/>
                    <a:gd name="T46" fmla="*/ 434 w 444"/>
                    <a:gd name="T47" fmla="*/ 271 h 458"/>
                    <a:gd name="T48" fmla="*/ 419 w 444"/>
                    <a:gd name="T49" fmla="*/ 268 h 458"/>
                    <a:gd name="T50" fmla="*/ 411 w 444"/>
                    <a:gd name="T51" fmla="*/ 242 h 458"/>
                    <a:gd name="T52" fmla="*/ 388 w 444"/>
                    <a:gd name="T53" fmla="*/ 223 h 458"/>
                    <a:gd name="T54" fmla="*/ 373 w 444"/>
                    <a:gd name="T55" fmla="*/ 192 h 458"/>
                    <a:gd name="T56" fmla="*/ 362 w 444"/>
                    <a:gd name="T57" fmla="*/ 177 h 458"/>
                    <a:gd name="T58" fmla="*/ 339 w 444"/>
                    <a:gd name="T59" fmla="*/ 161 h 458"/>
                    <a:gd name="T60" fmla="*/ 328 w 444"/>
                    <a:gd name="T61" fmla="*/ 149 h 458"/>
                    <a:gd name="T62" fmla="*/ 320 w 444"/>
                    <a:gd name="T63" fmla="*/ 135 h 458"/>
                    <a:gd name="T64" fmla="*/ 280 w 444"/>
                    <a:gd name="T65" fmla="*/ 105 h 458"/>
                    <a:gd name="T66" fmla="*/ 265 w 444"/>
                    <a:gd name="T67" fmla="*/ 93 h 458"/>
                    <a:gd name="T68" fmla="*/ 246 w 444"/>
                    <a:gd name="T69" fmla="*/ 68 h 458"/>
                    <a:gd name="T70" fmla="*/ 235 w 444"/>
                    <a:gd name="T71" fmla="*/ 53 h 458"/>
                    <a:gd name="T72" fmla="*/ 196 w 444"/>
                    <a:gd name="T73" fmla="*/ 39 h 458"/>
                    <a:gd name="T74" fmla="*/ 196 w 444"/>
                    <a:gd name="T75" fmla="*/ 16 h 458"/>
                    <a:gd name="T76" fmla="*/ 206 w 444"/>
                    <a:gd name="T77" fmla="*/ 5 h 458"/>
                    <a:gd name="T78" fmla="*/ 206 w 444"/>
                    <a:gd name="T79" fmla="*/ 0 h 458"/>
                    <a:gd name="T80" fmla="*/ 0 w 444"/>
                    <a:gd name="T81" fmla="*/ 27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4" h="458">
                      <a:moveTo>
                        <a:pt x="0" y="27"/>
                      </a:moveTo>
                      <a:lnTo>
                        <a:pt x="60" y="242"/>
                      </a:lnTo>
                      <a:lnTo>
                        <a:pt x="65" y="248"/>
                      </a:lnTo>
                      <a:lnTo>
                        <a:pt x="70" y="263"/>
                      </a:lnTo>
                      <a:lnTo>
                        <a:pt x="73" y="269"/>
                      </a:lnTo>
                      <a:lnTo>
                        <a:pt x="80" y="274"/>
                      </a:lnTo>
                      <a:lnTo>
                        <a:pt x="86" y="281"/>
                      </a:lnTo>
                      <a:lnTo>
                        <a:pt x="83" y="289"/>
                      </a:lnTo>
                      <a:lnTo>
                        <a:pt x="90" y="298"/>
                      </a:lnTo>
                      <a:lnTo>
                        <a:pt x="89" y="301"/>
                      </a:lnTo>
                      <a:lnTo>
                        <a:pt x="81" y="313"/>
                      </a:lnTo>
                      <a:lnTo>
                        <a:pt x="81" y="326"/>
                      </a:lnTo>
                      <a:lnTo>
                        <a:pt x="76" y="338"/>
                      </a:lnTo>
                      <a:lnTo>
                        <a:pt x="77" y="357"/>
                      </a:lnTo>
                      <a:lnTo>
                        <a:pt x="88" y="379"/>
                      </a:lnTo>
                      <a:lnTo>
                        <a:pt x="86" y="405"/>
                      </a:lnTo>
                      <a:lnTo>
                        <a:pt x="96" y="421"/>
                      </a:lnTo>
                      <a:lnTo>
                        <a:pt x="98" y="428"/>
                      </a:lnTo>
                      <a:lnTo>
                        <a:pt x="99" y="433"/>
                      </a:lnTo>
                      <a:lnTo>
                        <a:pt x="107" y="441"/>
                      </a:lnTo>
                      <a:lnTo>
                        <a:pt x="106" y="447"/>
                      </a:lnTo>
                      <a:lnTo>
                        <a:pt x="112" y="455"/>
                      </a:lnTo>
                      <a:lnTo>
                        <a:pt x="345" y="441"/>
                      </a:lnTo>
                      <a:lnTo>
                        <a:pt x="348" y="452"/>
                      </a:lnTo>
                      <a:lnTo>
                        <a:pt x="352" y="457"/>
                      </a:lnTo>
                      <a:lnTo>
                        <a:pt x="364" y="458"/>
                      </a:lnTo>
                      <a:lnTo>
                        <a:pt x="367" y="446"/>
                      </a:lnTo>
                      <a:lnTo>
                        <a:pt x="360" y="424"/>
                      </a:lnTo>
                      <a:lnTo>
                        <a:pt x="360" y="416"/>
                      </a:lnTo>
                      <a:lnTo>
                        <a:pt x="363" y="412"/>
                      </a:lnTo>
                      <a:lnTo>
                        <a:pt x="369" y="407"/>
                      </a:lnTo>
                      <a:lnTo>
                        <a:pt x="386" y="415"/>
                      </a:lnTo>
                      <a:lnTo>
                        <a:pt x="401" y="416"/>
                      </a:lnTo>
                      <a:lnTo>
                        <a:pt x="408" y="413"/>
                      </a:lnTo>
                      <a:lnTo>
                        <a:pt x="406" y="397"/>
                      </a:lnTo>
                      <a:lnTo>
                        <a:pt x="403" y="388"/>
                      </a:lnTo>
                      <a:lnTo>
                        <a:pt x="403" y="377"/>
                      </a:lnTo>
                      <a:lnTo>
                        <a:pt x="404" y="368"/>
                      </a:lnTo>
                      <a:lnTo>
                        <a:pt x="416" y="333"/>
                      </a:lnTo>
                      <a:lnTo>
                        <a:pt x="419" y="317"/>
                      </a:lnTo>
                      <a:lnTo>
                        <a:pt x="424" y="303"/>
                      </a:lnTo>
                      <a:lnTo>
                        <a:pt x="432" y="289"/>
                      </a:lnTo>
                      <a:lnTo>
                        <a:pt x="439" y="281"/>
                      </a:lnTo>
                      <a:lnTo>
                        <a:pt x="443" y="280"/>
                      </a:lnTo>
                      <a:lnTo>
                        <a:pt x="444" y="275"/>
                      </a:lnTo>
                      <a:lnTo>
                        <a:pt x="438" y="273"/>
                      </a:lnTo>
                      <a:lnTo>
                        <a:pt x="438" y="271"/>
                      </a:lnTo>
                      <a:lnTo>
                        <a:pt x="434" y="271"/>
                      </a:lnTo>
                      <a:lnTo>
                        <a:pt x="422" y="270"/>
                      </a:lnTo>
                      <a:lnTo>
                        <a:pt x="419" y="268"/>
                      </a:lnTo>
                      <a:lnTo>
                        <a:pt x="416" y="263"/>
                      </a:lnTo>
                      <a:lnTo>
                        <a:pt x="411" y="242"/>
                      </a:lnTo>
                      <a:lnTo>
                        <a:pt x="400" y="228"/>
                      </a:lnTo>
                      <a:lnTo>
                        <a:pt x="388" y="223"/>
                      </a:lnTo>
                      <a:lnTo>
                        <a:pt x="381" y="201"/>
                      </a:lnTo>
                      <a:lnTo>
                        <a:pt x="373" y="192"/>
                      </a:lnTo>
                      <a:lnTo>
                        <a:pt x="369" y="181"/>
                      </a:lnTo>
                      <a:lnTo>
                        <a:pt x="362" y="177"/>
                      </a:lnTo>
                      <a:lnTo>
                        <a:pt x="348" y="172"/>
                      </a:lnTo>
                      <a:lnTo>
                        <a:pt x="339" y="161"/>
                      </a:lnTo>
                      <a:lnTo>
                        <a:pt x="329" y="154"/>
                      </a:lnTo>
                      <a:lnTo>
                        <a:pt x="328" y="149"/>
                      </a:lnTo>
                      <a:lnTo>
                        <a:pt x="324" y="138"/>
                      </a:lnTo>
                      <a:lnTo>
                        <a:pt x="320" y="135"/>
                      </a:lnTo>
                      <a:lnTo>
                        <a:pt x="307" y="130"/>
                      </a:lnTo>
                      <a:lnTo>
                        <a:pt x="280" y="105"/>
                      </a:lnTo>
                      <a:lnTo>
                        <a:pt x="268" y="101"/>
                      </a:lnTo>
                      <a:lnTo>
                        <a:pt x="265" y="93"/>
                      </a:lnTo>
                      <a:lnTo>
                        <a:pt x="254" y="84"/>
                      </a:lnTo>
                      <a:lnTo>
                        <a:pt x="246" y="68"/>
                      </a:lnTo>
                      <a:lnTo>
                        <a:pt x="238" y="60"/>
                      </a:lnTo>
                      <a:lnTo>
                        <a:pt x="235" y="53"/>
                      </a:lnTo>
                      <a:lnTo>
                        <a:pt x="218" y="50"/>
                      </a:lnTo>
                      <a:lnTo>
                        <a:pt x="196" y="39"/>
                      </a:lnTo>
                      <a:lnTo>
                        <a:pt x="188" y="33"/>
                      </a:lnTo>
                      <a:lnTo>
                        <a:pt x="196" y="16"/>
                      </a:lnTo>
                      <a:lnTo>
                        <a:pt x="202" y="11"/>
                      </a:lnTo>
                      <a:lnTo>
                        <a:pt x="206" y="5"/>
                      </a:lnTo>
                      <a:lnTo>
                        <a:pt x="207" y="1"/>
                      </a:lnTo>
                      <a:lnTo>
                        <a:pt x="206" y="0"/>
                      </a:lnTo>
                      <a:lnTo>
                        <a:pt x="83" y="17"/>
                      </a:lnTo>
                      <a:lnTo>
                        <a:pt x="0" y="27"/>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3" name="Freeform 48">
                  <a:extLst>
                    <a:ext uri="{FF2B5EF4-FFF2-40B4-BE49-F238E27FC236}">
                      <a16:creationId xmlns:a16="http://schemas.microsoft.com/office/drawing/2014/main" id="{45DD18FE-95D3-418E-975E-2CD382FAAFB3}"/>
                    </a:ext>
                  </a:extLst>
                </p:cNvPr>
                <p:cNvSpPr>
                  <a:spLocks/>
                </p:cNvSpPr>
                <p:nvPr/>
              </p:nvSpPr>
              <p:spPr bwMode="auto">
                <a:xfrm>
                  <a:off x="4776" y="2402"/>
                  <a:ext cx="383" cy="287"/>
                </a:xfrm>
                <a:custGeom>
                  <a:avLst/>
                  <a:gdLst>
                    <a:gd name="T0" fmla="*/ 246 w 417"/>
                    <a:gd name="T1" fmla="*/ 314 h 314"/>
                    <a:gd name="T2" fmla="*/ 231 w 417"/>
                    <a:gd name="T3" fmla="*/ 311 h 314"/>
                    <a:gd name="T4" fmla="*/ 223 w 417"/>
                    <a:gd name="T5" fmla="*/ 285 h 314"/>
                    <a:gd name="T6" fmla="*/ 200 w 417"/>
                    <a:gd name="T7" fmla="*/ 266 h 314"/>
                    <a:gd name="T8" fmla="*/ 185 w 417"/>
                    <a:gd name="T9" fmla="*/ 235 h 314"/>
                    <a:gd name="T10" fmla="*/ 174 w 417"/>
                    <a:gd name="T11" fmla="*/ 220 h 314"/>
                    <a:gd name="T12" fmla="*/ 151 w 417"/>
                    <a:gd name="T13" fmla="*/ 204 h 314"/>
                    <a:gd name="T14" fmla="*/ 140 w 417"/>
                    <a:gd name="T15" fmla="*/ 192 h 314"/>
                    <a:gd name="T16" fmla="*/ 132 w 417"/>
                    <a:gd name="T17" fmla="*/ 178 h 314"/>
                    <a:gd name="T18" fmla="*/ 92 w 417"/>
                    <a:gd name="T19" fmla="*/ 148 h 314"/>
                    <a:gd name="T20" fmla="*/ 77 w 417"/>
                    <a:gd name="T21" fmla="*/ 136 h 314"/>
                    <a:gd name="T22" fmla="*/ 58 w 417"/>
                    <a:gd name="T23" fmla="*/ 111 h 314"/>
                    <a:gd name="T24" fmla="*/ 47 w 417"/>
                    <a:gd name="T25" fmla="*/ 96 h 314"/>
                    <a:gd name="T26" fmla="*/ 8 w 417"/>
                    <a:gd name="T27" fmla="*/ 82 h 314"/>
                    <a:gd name="T28" fmla="*/ 8 w 417"/>
                    <a:gd name="T29" fmla="*/ 59 h 314"/>
                    <a:gd name="T30" fmla="*/ 18 w 417"/>
                    <a:gd name="T31" fmla="*/ 48 h 314"/>
                    <a:gd name="T32" fmla="*/ 18 w 417"/>
                    <a:gd name="T33" fmla="*/ 43 h 314"/>
                    <a:gd name="T34" fmla="*/ 49 w 417"/>
                    <a:gd name="T35" fmla="*/ 31 h 314"/>
                    <a:gd name="T36" fmla="*/ 72 w 417"/>
                    <a:gd name="T37" fmla="*/ 16 h 314"/>
                    <a:gd name="T38" fmla="*/ 77 w 417"/>
                    <a:gd name="T39" fmla="*/ 13 h 314"/>
                    <a:gd name="T40" fmla="*/ 186 w 417"/>
                    <a:gd name="T41" fmla="*/ 4 h 314"/>
                    <a:gd name="T42" fmla="*/ 188 w 417"/>
                    <a:gd name="T43" fmla="*/ 11 h 314"/>
                    <a:gd name="T44" fmla="*/ 212 w 417"/>
                    <a:gd name="T45" fmla="*/ 20 h 314"/>
                    <a:gd name="T46" fmla="*/ 307 w 417"/>
                    <a:gd name="T47" fmla="*/ 20 h 314"/>
                    <a:gd name="T48" fmla="*/ 413 w 417"/>
                    <a:gd name="T49" fmla="*/ 99 h 314"/>
                    <a:gd name="T50" fmla="*/ 397 w 417"/>
                    <a:gd name="T51" fmla="*/ 115 h 314"/>
                    <a:gd name="T52" fmla="*/ 380 w 417"/>
                    <a:gd name="T53" fmla="*/ 144 h 314"/>
                    <a:gd name="T54" fmla="*/ 376 w 417"/>
                    <a:gd name="T55" fmla="*/ 166 h 314"/>
                    <a:gd name="T56" fmla="*/ 373 w 417"/>
                    <a:gd name="T57" fmla="*/ 179 h 314"/>
                    <a:gd name="T58" fmla="*/ 363 w 417"/>
                    <a:gd name="T59" fmla="*/ 184 h 314"/>
                    <a:gd name="T60" fmla="*/ 353 w 417"/>
                    <a:gd name="T61" fmla="*/ 196 h 314"/>
                    <a:gd name="T62" fmla="*/ 344 w 417"/>
                    <a:gd name="T63" fmla="*/ 212 h 314"/>
                    <a:gd name="T64" fmla="*/ 322 w 417"/>
                    <a:gd name="T65" fmla="*/ 233 h 314"/>
                    <a:gd name="T66" fmla="*/ 304 w 417"/>
                    <a:gd name="T67" fmla="*/ 247 h 314"/>
                    <a:gd name="T68" fmla="*/ 293 w 417"/>
                    <a:gd name="T69" fmla="*/ 257 h 314"/>
                    <a:gd name="T70" fmla="*/ 280 w 417"/>
                    <a:gd name="T71" fmla="*/ 263 h 314"/>
                    <a:gd name="T72" fmla="*/ 279 w 417"/>
                    <a:gd name="T73" fmla="*/ 269 h 314"/>
                    <a:gd name="T74" fmla="*/ 273 w 417"/>
                    <a:gd name="T75" fmla="*/ 279 h 314"/>
                    <a:gd name="T76" fmla="*/ 260 w 417"/>
                    <a:gd name="T77" fmla="*/ 285 h 314"/>
                    <a:gd name="T78" fmla="*/ 258 w 417"/>
                    <a:gd name="T79" fmla="*/ 288 h 314"/>
                    <a:gd name="T80" fmla="*/ 263 w 417"/>
                    <a:gd name="T81" fmla="*/ 292 h 314"/>
                    <a:gd name="T82" fmla="*/ 264 w 417"/>
                    <a:gd name="T83" fmla="*/ 297 h 314"/>
                    <a:gd name="T84" fmla="*/ 252 w 417"/>
                    <a:gd name="T85" fmla="*/ 307 h 314"/>
                    <a:gd name="T86" fmla="*/ 250 w 417"/>
                    <a:gd name="T87"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 h="314">
                      <a:moveTo>
                        <a:pt x="250" y="314"/>
                      </a:moveTo>
                      <a:lnTo>
                        <a:pt x="246" y="314"/>
                      </a:lnTo>
                      <a:lnTo>
                        <a:pt x="234" y="313"/>
                      </a:lnTo>
                      <a:lnTo>
                        <a:pt x="231" y="311"/>
                      </a:lnTo>
                      <a:lnTo>
                        <a:pt x="228" y="306"/>
                      </a:lnTo>
                      <a:lnTo>
                        <a:pt x="223" y="285"/>
                      </a:lnTo>
                      <a:lnTo>
                        <a:pt x="212" y="271"/>
                      </a:lnTo>
                      <a:lnTo>
                        <a:pt x="200" y="266"/>
                      </a:lnTo>
                      <a:lnTo>
                        <a:pt x="193" y="244"/>
                      </a:lnTo>
                      <a:lnTo>
                        <a:pt x="185" y="235"/>
                      </a:lnTo>
                      <a:lnTo>
                        <a:pt x="181" y="224"/>
                      </a:lnTo>
                      <a:lnTo>
                        <a:pt x="174" y="220"/>
                      </a:lnTo>
                      <a:lnTo>
                        <a:pt x="160" y="215"/>
                      </a:lnTo>
                      <a:lnTo>
                        <a:pt x="151" y="204"/>
                      </a:lnTo>
                      <a:lnTo>
                        <a:pt x="141" y="197"/>
                      </a:lnTo>
                      <a:lnTo>
                        <a:pt x="140" y="192"/>
                      </a:lnTo>
                      <a:lnTo>
                        <a:pt x="136" y="181"/>
                      </a:lnTo>
                      <a:lnTo>
                        <a:pt x="132" y="178"/>
                      </a:lnTo>
                      <a:lnTo>
                        <a:pt x="119" y="173"/>
                      </a:lnTo>
                      <a:lnTo>
                        <a:pt x="92" y="148"/>
                      </a:lnTo>
                      <a:lnTo>
                        <a:pt x="80" y="144"/>
                      </a:lnTo>
                      <a:lnTo>
                        <a:pt x="77" y="136"/>
                      </a:lnTo>
                      <a:lnTo>
                        <a:pt x="66" y="127"/>
                      </a:lnTo>
                      <a:lnTo>
                        <a:pt x="58" y="111"/>
                      </a:lnTo>
                      <a:lnTo>
                        <a:pt x="50" y="103"/>
                      </a:lnTo>
                      <a:lnTo>
                        <a:pt x="47" y="96"/>
                      </a:lnTo>
                      <a:lnTo>
                        <a:pt x="30" y="93"/>
                      </a:lnTo>
                      <a:lnTo>
                        <a:pt x="8" y="82"/>
                      </a:lnTo>
                      <a:lnTo>
                        <a:pt x="0" y="76"/>
                      </a:lnTo>
                      <a:lnTo>
                        <a:pt x="8" y="59"/>
                      </a:lnTo>
                      <a:lnTo>
                        <a:pt x="14" y="54"/>
                      </a:lnTo>
                      <a:lnTo>
                        <a:pt x="18" y="48"/>
                      </a:lnTo>
                      <a:lnTo>
                        <a:pt x="19" y="44"/>
                      </a:lnTo>
                      <a:lnTo>
                        <a:pt x="18" y="43"/>
                      </a:lnTo>
                      <a:lnTo>
                        <a:pt x="42" y="31"/>
                      </a:lnTo>
                      <a:lnTo>
                        <a:pt x="49" y="31"/>
                      </a:lnTo>
                      <a:lnTo>
                        <a:pt x="50" y="26"/>
                      </a:lnTo>
                      <a:lnTo>
                        <a:pt x="72" y="16"/>
                      </a:lnTo>
                      <a:lnTo>
                        <a:pt x="74" y="13"/>
                      </a:lnTo>
                      <a:lnTo>
                        <a:pt x="77" y="13"/>
                      </a:lnTo>
                      <a:lnTo>
                        <a:pt x="185" y="0"/>
                      </a:lnTo>
                      <a:lnTo>
                        <a:pt x="186" y="4"/>
                      </a:lnTo>
                      <a:lnTo>
                        <a:pt x="184" y="7"/>
                      </a:lnTo>
                      <a:lnTo>
                        <a:pt x="188" y="11"/>
                      </a:lnTo>
                      <a:lnTo>
                        <a:pt x="196" y="7"/>
                      </a:lnTo>
                      <a:lnTo>
                        <a:pt x="212" y="20"/>
                      </a:lnTo>
                      <a:lnTo>
                        <a:pt x="214" y="32"/>
                      </a:lnTo>
                      <a:lnTo>
                        <a:pt x="307" y="20"/>
                      </a:lnTo>
                      <a:lnTo>
                        <a:pt x="417" y="96"/>
                      </a:lnTo>
                      <a:lnTo>
                        <a:pt x="413" y="99"/>
                      </a:lnTo>
                      <a:lnTo>
                        <a:pt x="405" y="104"/>
                      </a:lnTo>
                      <a:lnTo>
                        <a:pt x="397" y="115"/>
                      </a:lnTo>
                      <a:lnTo>
                        <a:pt x="387" y="128"/>
                      </a:lnTo>
                      <a:lnTo>
                        <a:pt x="380" y="144"/>
                      </a:lnTo>
                      <a:lnTo>
                        <a:pt x="376" y="155"/>
                      </a:lnTo>
                      <a:lnTo>
                        <a:pt x="376" y="166"/>
                      </a:lnTo>
                      <a:lnTo>
                        <a:pt x="376" y="176"/>
                      </a:lnTo>
                      <a:lnTo>
                        <a:pt x="373" y="179"/>
                      </a:lnTo>
                      <a:lnTo>
                        <a:pt x="370" y="184"/>
                      </a:lnTo>
                      <a:lnTo>
                        <a:pt x="363" y="184"/>
                      </a:lnTo>
                      <a:lnTo>
                        <a:pt x="359" y="189"/>
                      </a:lnTo>
                      <a:lnTo>
                        <a:pt x="353" y="196"/>
                      </a:lnTo>
                      <a:lnTo>
                        <a:pt x="348" y="204"/>
                      </a:lnTo>
                      <a:lnTo>
                        <a:pt x="344" y="212"/>
                      </a:lnTo>
                      <a:lnTo>
                        <a:pt x="330" y="221"/>
                      </a:lnTo>
                      <a:lnTo>
                        <a:pt x="322" y="233"/>
                      </a:lnTo>
                      <a:lnTo>
                        <a:pt x="314" y="240"/>
                      </a:lnTo>
                      <a:lnTo>
                        <a:pt x="304" y="247"/>
                      </a:lnTo>
                      <a:lnTo>
                        <a:pt x="298" y="253"/>
                      </a:lnTo>
                      <a:lnTo>
                        <a:pt x="293" y="257"/>
                      </a:lnTo>
                      <a:lnTo>
                        <a:pt x="285" y="261"/>
                      </a:lnTo>
                      <a:lnTo>
                        <a:pt x="280" y="263"/>
                      </a:lnTo>
                      <a:lnTo>
                        <a:pt x="278" y="266"/>
                      </a:lnTo>
                      <a:lnTo>
                        <a:pt x="279" y="269"/>
                      </a:lnTo>
                      <a:lnTo>
                        <a:pt x="277" y="271"/>
                      </a:lnTo>
                      <a:lnTo>
                        <a:pt x="273" y="279"/>
                      </a:lnTo>
                      <a:lnTo>
                        <a:pt x="267" y="285"/>
                      </a:lnTo>
                      <a:lnTo>
                        <a:pt x="260" y="285"/>
                      </a:lnTo>
                      <a:lnTo>
                        <a:pt x="259" y="287"/>
                      </a:lnTo>
                      <a:lnTo>
                        <a:pt x="258" y="288"/>
                      </a:lnTo>
                      <a:lnTo>
                        <a:pt x="260" y="291"/>
                      </a:lnTo>
                      <a:lnTo>
                        <a:pt x="263" y="292"/>
                      </a:lnTo>
                      <a:lnTo>
                        <a:pt x="264" y="293"/>
                      </a:lnTo>
                      <a:lnTo>
                        <a:pt x="264" y="297"/>
                      </a:lnTo>
                      <a:lnTo>
                        <a:pt x="260" y="300"/>
                      </a:lnTo>
                      <a:lnTo>
                        <a:pt x="252" y="307"/>
                      </a:lnTo>
                      <a:lnTo>
                        <a:pt x="250" y="312"/>
                      </a:lnTo>
                      <a:lnTo>
                        <a:pt x="250" y="314"/>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4" name="Freeform 49">
                  <a:extLst>
                    <a:ext uri="{FF2B5EF4-FFF2-40B4-BE49-F238E27FC236}">
                      <a16:creationId xmlns:a16="http://schemas.microsoft.com/office/drawing/2014/main" id="{FFEC1AA7-103B-4D2E-8166-01E09B758424}"/>
                    </a:ext>
                  </a:extLst>
                </p:cNvPr>
                <p:cNvSpPr>
                  <a:spLocks/>
                </p:cNvSpPr>
                <p:nvPr/>
              </p:nvSpPr>
              <p:spPr bwMode="auto">
                <a:xfrm>
                  <a:off x="4680" y="2207"/>
                  <a:ext cx="655" cy="283"/>
                </a:xfrm>
                <a:custGeom>
                  <a:avLst/>
                  <a:gdLst>
                    <a:gd name="T0" fmla="*/ 9 w 714"/>
                    <a:gd name="T1" fmla="*/ 248 h 308"/>
                    <a:gd name="T2" fmla="*/ 20 w 714"/>
                    <a:gd name="T3" fmla="*/ 235 h 308"/>
                    <a:gd name="T4" fmla="*/ 28 w 714"/>
                    <a:gd name="T5" fmla="*/ 217 h 308"/>
                    <a:gd name="T6" fmla="*/ 83 w 714"/>
                    <a:gd name="T7" fmla="*/ 188 h 308"/>
                    <a:gd name="T8" fmla="*/ 105 w 714"/>
                    <a:gd name="T9" fmla="*/ 164 h 308"/>
                    <a:gd name="T10" fmla="*/ 115 w 714"/>
                    <a:gd name="T11" fmla="*/ 160 h 308"/>
                    <a:gd name="T12" fmla="*/ 125 w 714"/>
                    <a:gd name="T13" fmla="*/ 152 h 308"/>
                    <a:gd name="T14" fmla="*/ 138 w 714"/>
                    <a:gd name="T15" fmla="*/ 148 h 308"/>
                    <a:gd name="T16" fmla="*/ 169 w 714"/>
                    <a:gd name="T17" fmla="*/ 136 h 308"/>
                    <a:gd name="T18" fmla="*/ 194 w 714"/>
                    <a:gd name="T19" fmla="*/ 100 h 308"/>
                    <a:gd name="T20" fmla="*/ 197 w 714"/>
                    <a:gd name="T21" fmla="*/ 80 h 308"/>
                    <a:gd name="T22" fmla="*/ 217 w 714"/>
                    <a:gd name="T23" fmla="*/ 77 h 308"/>
                    <a:gd name="T24" fmla="*/ 253 w 714"/>
                    <a:gd name="T25" fmla="*/ 74 h 308"/>
                    <a:gd name="T26" fmla="*/ 675 w 714"/>
                    <a:gd name="T27" fmla="*/ 4 h 308"/>
                    <a:gd name="T28" fmla="*/ 686 w 714"/>
                    <a:gd name="T29" fmla="*/ 12 h 308"/>
                    <a:gd name="T30" fmla="*/ 697 w 714"/>
                    <a:gd name="T31" fmla="*/ 29 h 308"/>
                    <a:gd name="T32" fmla="*/ 693 w 714"/>
                    <a:gd name="T33" fmla="*/ 33 h 308"/>
                    <a:gd name="T34" fmla="*/ 682 w 714"/>
                    <a:gd name="T35" fmla="*/ 32 h 308"/>
                    <a:gd name="T36" fmla="*/ 677 w 714"/>
                    <a:gd name="T37" fmla="*/ 35 h 308"/>
                    <a:gd name="T38" fmla="*/ 653 w 714"/>
                    <a:gd name="T39" fmla="*/ 50 h 308"/>
                    <a:gd name="T40" fmla="*/ 631 w 714"/>
                    <a:gd name="T41" fmla="*/ 67 h 308"/>
                    <a:gd name="T42" fmla="*/ 638 w 714"/>
                    <a:gd name="T43" fmla="*/ 69 h 308"/>
                    <a:gd name="T44" fmla="*/ 670 w 714"/>
                    <a:gd name="T45" fmla="*/ 55 h 308"/>
                    <a:gd name="T46" fmla="*/ 682 w 714"/>
                    <a:gd name="T47" fmla="*/ 64 h 308"/>
                    <a:gd name="T48" fmla="*/ 692 w 714"/>
                    <a:gd name="T49" fmla="*/ 68 h 308"/>
                    <a:gd name="T50" fmla="*/ 707 w 714"/>
                    <a:gd name="T51" fmla="*/ 56 h 308"/>
                    <a:gd name="T52" fmla="*/ 714 w 714"/>
                    <a:gd name="T53" fmla="*/ 86 h 308"/>
                    <a:gd name="T54" fmla="*/ 702 w 714"/>
                    <a:gd name="T55" fmla="*/ 104 h 308"/>
                    <a:gd name="T56" fmla="*/ 686 w 714"/>
                    <a:gd name="T57" fmla="*/ 116 h 308"/>
                    <a:gd name="T58" fmla="*/ 662 w 714"/>
                    <a:gd name="T59" fmla="*/ 118 h 308"/>
                    <a:gd name="T60" fmla="*/ 656 w 714"/>
                    <a:gd name="T61" fmla="*/ 113 h 308"/>
                    <a:gd name="T62" fmla="*/ 650 w 714"/>
                    <a:gd name="T63" fmla="*/ 107 h 308"/>
                    <a:gd name="T64" fmla="*/ 648 w 714"/>
                    <a:gd name="T65" fmla="*/ 125 h 308"/>
                    <a:gd name="T66" fmla="*/ 656 w 714"/>
                    <a:gd name="T67" fmla="*/ 130 h 308"/>
                    <a:gd name="T68" fmla="*/ 660 w 714"/>
                    <a:gd name="T69" fmla="*/ 148 h 308"/>
                    <a:gd name="T70" fmla="*/ 631 w 714"/>
                    <a:gd name="T71" fmla="*/ 164 h 308"/>
                    <a:gd name="T72" fmla="*/ 630 w 714"/>
                    <a:gd name="T73" fmla="*/ 172 h 308"/>
                    <a:gd name="T74" fmla="*/ 672 w 714"/>
                    <a:gd name="T75" fmla="*/ 160 h 308"/>
                    <a:gd name="T76" fmla="*/ 683 w 714"/>
                    <a:gd name="T77" fmla="*/ 161 h 308"/>
                    <a:gd name="T78" fmla="*/ 651 w 714"/>
                    <a:gd name="T79" fmla="*/ 190 h 308"/>
                    <a:gd name="T80" fmla="*/ 615 w 714"/>
                    <a:gd name="T81" fmla="*/ 219 h 308"/>
                    <a:gd name="T82" fmla="*/ 610 w 714"/>
                    <a:gd name="T83" fmla="*/ 224 h 308"/>
                    <a:gd name="T84" fmla="*/ 576 w 714"/>
                    <a:gd name="T85" fmla="*/ 265 h 308"/>
                    <a:gd name="T86" fmla="*/ 559 w 714"/>
                    <a:gd name="T87" fmla="*/ 299 h 308"/>
                    <a:gd name="T88" fmla="*/ 412 w 714"/>
                    <a:gd name="T89" fmla="*/ 232 h 308"/>
                    <a:gd name="T90" fmla="*/ 301 w 714"/>
                    <a:gd name="T91" fmla="*/ 219 h 308"/>
                    <a:gd name="T92" fmla="*/ 291 w 714"/>
                    <a:gd name="T93" fmla="*/ 216 h 308"/>
                    <a:gd name="T94" fmla="*/ 179 w 714"/>
                    <a:gd name="T95" fmla="*/ 225 h 308"/>
                    <a:gd name="T96" fmla="*/ 154 w 714"/>
                    <a:gd name="T97" fmla="*/ 243 h 308"/>
                    <a:gd name="T98" fmla="*/ 0 w 714"/>
                    <a:gd name="T99" fmla="*/ 27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4" h="308">
                      <a:moveTo>
                        <a:pt x="0" y="272"/>
                      </a:moveTo>
                      <a:lnTo>
                        <a:pt x="2" y="248"/>
                      </a:lnTo>
                      <a:lnTo>
                        <a:pt x="9" y="248"/>
                      </a:lnTo>
                      <a:lnTo>
                        <a:pt x="13" y="248"/>
                      </a:lnTo>
                      <a:lnTo>
                        <a:pt x="19" y="241"/>
                      </a:lnTo>
                      <a:lnTo>
                        <a:pt x="20" y="235"/>
                      </a:lnTo>
                      <a:lnTo>
                        <a:pt x="19" y="231"/>
                      </a:lnTo>
                      <a:lnTo>
                        <a:pt x="22" y="225"/>
                      </a:lnTo>
                      <a:lnTo>
                        <a:pt x="28" y="217"/>
                      </a:lnTo>
                      <a:lnTo>
                        <a:pt x="45" y="210"/>
                      </a:lnTo>
                      <a:lnTo>
                        <a:pt x="64" y="205"/>
                      </a:lnTo>
                      <a:lnTo>
                        <a:pt x="83" y="188"/>
                      </a:lnTo>
                      <a:lnTo>
                        <a:pt x="91" y="185"/>
                      </a:lnTo>
                      <a:lnTo>
                        <a:pt x="102" y="174"/>
                      </a:lnTo>
                      <a:lnTo>
                        <a:pt x="105" y="164"/>
                      </a:lnTo>
                      <a:lnTo>
                        <a:pt x="107" y="164"/>
                      </a:lnTo>
                      <a:lnTo>
                        <a:pt x="112" y="164"/>
                      </a:lnTo>
                      <a:lnTo>
                        <a:pt x="115" y="160"/>
                      </a:lnTo>
                      <a:lnTo>
                        <a:pt x="117" y="157"/>
                      </a:lnTo>
                      <a:lnTo>
                        <a:pt x="123" y="151"/>
                      </a:lnTo>
                      <a:lnTo>
                        <a:pt x="125" y="152"/>
                      </a:lnTo>
                      <a:lnTo>
                        <a:pt x="131" y="155"/>
                      </a:lnTo>
                      <a:lnTo>
                        <a:pt x="137" y="152"/>
                      </a:lnTo>
                      <a:lnTo>
                        <a:pt x="138" y="148"/>
                      </a:lnTo>
                      <a:lnTo>
                        <a:pt x="149" y="140"/>
                      </a:lnTo>
                      <a:lnTo>
                        <a:pt x="156" y="137"/>
                      </a:lnTo>
                      <a:lnTo>
                        <a:pt x="169" y="136"/>
                      </a:lnTo>
                      <a:lnTo>
                        <a:pt x="182" y="113"/>
                      </a:lnTo>
                      <a:lnTo>
                        <a:pt x="193" y="107"/>
                      </a:lnTo>
                      <a:lnTo>
                        <a:pt x="194" y="100"/>
                      </a:lnTo>
                      <a:lnTo>
                        <a:pt x="196" y="94"/>
                      </a:lnTo>
                      <a:lnTo>
                        <a:pt x="195" y="86"/>
                      </a:lnTo>
                      <a:lnTo>
                        <a:pt x="197" y="80"/>
                      </a:lnTo>
                      <a:lnTo>
                        <a:pt x="197" y="77"/>
                      </a:lnTo>
                      <a:lnTo>
                        <a:pt x="219" y="73"/>
                      </a:lnTo>
                      <a:lnTo>
                        <a:pt x="217" y="77"/>
                      </a:lnTo>
                      <a:lnTo>
                        <a:pt x="240" y="75"/>
                      </a:lnTo>
                      <a:lnTo>
                        <a:pt x="249" y="72"/>
                      </a:lnTo>
                      <a:lnTo>
                        <a:pt x="253" y="74"/>
                      </a:lnTo>
                      <a:lnTo>
                        <a:pt x="468" y="39"/>
                      </a:lnTo>
                      <a:lnTo>
                        <a:pt x="672" y="0"/>
                      </a:lnTo>
                      <a:lnTo>
                        <a:pt x="675" y="4"/>
                      </a:lnTo>
                      <a:lnTo>
                        <a:pt x="677" y="7"/>
                      </a:lnTo>
                      <a:lnTo>
                        <a:pt x="682" y="10"/>
                      </a:lnTo>
                      <a:lnTo>
                        <a:pt x="686" y="12"/>
                      </a:lnTo>
                      <a:lnTo>
                        <a:pt x="690" y="16"/>
                      </a:lnTo>
                      <a:lnTo>
                        <a:pt x="693" y="20"/>
                      </a:lnTo>
                      <a:lnTo>
                        <a:pt x="697" y="29"/>
                      </a:lnTo>
                      <a:lnTo>
                        <a:pt x="695" y="32"/>
                      </a:lnTo>
                      <a:lnTo>
                        <a:pt x="696" y="33"/>
                      </a:lnTo>
                      <a:lnTo>
                        <a:pt x="693" y="33"/>
                      </a:lnTo>
                      <a:lnTo>
                        <a:pt x="692" y="30"/>
                      </a:lnTo>
                      <a:lnTo>
                        <a:pt x="686" y="32"/>
                      </a:lnTo>
                      <a:lnTo>
                        <a:pt x="682" y="32"/>
                      </a:lnTo>
                      <a:lnTo>
                        <a:pt x="678" y="30"/>
                      </a:lnTo>
                      <a:lnTo>
                        <a:pt x="674" y="31"/>
                      </a:lnTo>
                      <a:lnTo>
                        <a:pt x="677" y="35"/>
                      </a:lnTo>
                      <a:lnTo>
                        <a:pt x="676" y="37"/>
                      </a:lnTo>
                      <a:lnTo>
                        <a:pt x="657" y="46"/>
                      </a:lnTo>
                      <a:lnTo>
                        <a:pt x="653" y="50"/>
                      </a:lnTo>
                      <a:lnTo>
                        <a:pt x="646" y="57"/>
                      </a:lnTo>
                      <a:lnTo>
                        <a:pt x="634" y="59"/>
                      </a:lnTo>
                      <a:lnTo>
                        <a:pt x="631" y="67"/>
                      </a:lnTo>
                      <a:lnTo>
                        <a:pt x="631" y="69"/>
                      </a:lnTo>
                      <a:lnTo>
                        <a:pt x="634" y="70"/>
                      </a:lnTo>
                      <a:lnTo>
                        <a:pt x="638" y="69"/>
                      </a:lnTo>
                      <a:lnTo>
                        <a:pt x="650" y="63"/>
                      </a:lnTo>
                      <a:lnTo>
                        <a:pt x="663" y="60"/>
                      </a:lnTo>
                      <a:lnTo>
                        <a:pt x="670" y="55"/>
                      </a:lnTo>
                      <a:lnTo>
                        <a:pt x="682" y="56"/>
                      </a:lnTo>
                      <a:lnTo>
                        <a:pt x="684" y="57"/>
                      </a:lnTo>
                      <a:lnTo>
                        <a:pt x="682" y="64"/>
                      </a:lnTo>
                      <a:lnTo>
                        <a:pt x="684" y="68"/>
                      </a:lnTo>
                      <a:lnTo>
                        <a:pt x="687" y="70"/>
                      </a:lnTo>
                      <a:lnTo>
                        <a:pt x="692" y="68"/>
                      </a:lnTo>
                      <a:lnTo>
                        <a:pt x="694" y="64"/>
                      </a:lnTo>
                      <a:lnTo>
                        <a:pt x="701" y="56"/>
                      </a:lnTo>
                      <a:lnTo>
                        <a:pt x="707" y="56"/>
                      </a:lnTo>
                      <a:lnTo>
                        <a:pt x="711" y="65"/>
                      </a:lnTo>
                      <a:lnTo>
                        <a:pt x="713" y="81"/>
                      </a:lnTo>
                      <a:lnTo>
                        <a:pt x="714" y="86"/>
                      </a:lnTo>
                      <a:lnTo>
                        <a:pt x="714" y="89"/>
                      </a:lnTo>
                      <a:lnTo>
                        <a:pt x="704" y="97"/>
                      </a:lnTo>
                      <a:lnTo>
                        <a:pt x="702" y="104"/>
                      </a:lnTo>
                      <a:lnTo>
                        <a:pt x="700" y="108"/>
                      </a:lnTo>
                      <a:lnTo>
                        <a:pt x="692" y="114"/>
                      </a:lnTo>
                      <a:lnTo>
                        <a:pt x="686" y="116"/>
                      </a:lnTo>
                      <a:lnTo>
                        <a:pt x="680" y="120"/>
                      </a:lnTo>
                      <a:lnTo>
                        <a:pt x="666" y="120"/>
                      </a:lnTo>
                      <a:lnTo>
                        <a:pt x="662" y="118"/>
                      </a:lnTo>
                      <a:lnTo>
                        <a:pt x="660" y="120"/>
                      </a:lnTo>
                      <a:lnTo>
                        <a:pt x="658" y="120"/>
                      </a:lnTo>
                      <a:lnTo>
                        <a:pt x="656" y="113"/>
                      </a:lnTo>
                      <a:lnTo>
                        <a:pt x="656" y="110"/>
                      </a:lnTo>
                      <a:lnTo>
                        <a:pt x="654" y="108"/>
                      </a:lnTo>
                      <a:lnTo>
                        <a:pt x="650" y="107"/>
                      </a:lnTo>
                      <a:lnTo>
                        <a:pt x="648" y="109"/>
                      </a:lnTo>
                      <a:lnTo>
                        <a:pt x="650" y="121"/>
                      </a:lnTo>
                      <a:lnTo>
                        <a:pt x="648" y="125"/>
                      </a:lnTo>
                      <a:lnTo>
                        <a:pt x="646" y="124"/>
                      </a:lnTo>
                      <a:lnTo>
                        <a:pt x="650" y="129"/>
                      </a:lnTo>
                      <a:lnTo>
                        <a:pt x="656" y="130"/>
                      </a:lnTo>
                      <a:lnTo>
                        <a:pt x="662" y="136"/>
                      </a:lnTo>
                      <a:lnTo>
                        <a:pt x="658" y="144"/>
                      </a:lnTo>
                      <a:lnTo>
                        <a:pt x="660" y="148"/>
                      </a:lnTo>
                      <a:lnTo>
                        <a:pt x="645" y="167"/>
                      </a:lnTo>
                      <a:lnTo>
                        <a:pt x="640" y="168"/>
                      </a:lnTo>
                      <a:lnTo>
                        <a:pt x="631" y="164"/>
                      </a:lnTo>
                      <a:lnTo>
                        <a:pt x="625" y="164"/>
                      </a:lnTo>
                      <a:lnTo>
                        <a:pt x="624" y="168"/>
                      </a:lnTo>
                      <a:lnTo>
                        <a:pt x="630" y="172"/>
                      </a:lnTo>
                      <a:lnTo>
                        <a:pt x="646" y="171"/>
                      </a:lnTo>
                      <a:lnTo>
                        <a:pt x="657" y="168"/>
                      </a:lnTo>
                      <a:lnTo>
                        <a:pt x="672" y="160"/>
                      </a:lnTo>
                      <a:lnTo>
                        <a:pt x="674" y="155"/>
                      </a:lnTo>
                      <a:lnTo>
                        <a:pt x="678" y="156"/>
                      </a:lnTo>
                      <a:lnTo>
                        <a:pt x="683" y="161"/>
                      </a:lnTo>
                      <a:lnTo>
                        <a:pt x="678" y="174"/>
                      </a:lnTo>
                      <a:lnTo>
                        <a:pt x="666" y="188"/>
                      </a:lnTo>
                      <a:lnTo>
                        <a:pt x="651" y="190"/>
                      </a:lnTo>
                      <a:lnTo>
                        <a:pt x="646" y="193"/>
                      </a:lnTo>
                      <a:lnTo>
                        <a:pt x="629" y="196"/>
                      </a:lnTo>
                      <a:lnTo>
                        <a:pt x="615" y="219"/>
                      </a:lnTo>
                      <a:lnTo>
                        <a:pt x="609" y="220"/>
                      </a:lnTo>
                      <a:lnTo>
                        <a:pt x="609" y="223"/>
                      </a:lnTo>
                      <a:lnTo>
                        <a:pt x="610" y="224"/>
                      </a:lnTo>
                      <a:lnTo>
                        <a:pt x="594" y="234"/>
                      </a:lnTo>
                      <a:lnTo>
                        <a:pt x="585" y="245"/>
                      </a:lnTo>
                      <a:lnTo>
                        <a:pt x="576" y="265"/>
                      </a:lnTo>
                      <a:lnTo>
                        <a:pt x="571" y="289"/>
                      </a:lnTo>
                      <a:lnTo>
                        <a:pt x="567" y="296"/>
                      </a:lnTo>
                      <a:lnTo>
                        <a:pt x="559" y="299"/>
                      </a:lnTo>
                      <a:lnTo>
                        <a:pt x="526" y="305"/>
                      </a:lnTo>
                      <a:lnTo>
                        <a:pt x="522" y="308"/>
                      </a:lnTo>
                      <a:lnTo>
                        <a:pt x="412" y="232"/>
                      </a:lnTo>
                      <a:lnTo>
                        <a:pt x="319" y="244"/>
                      </a:lnTo>
                      <a:lnTo>
                        <a:pt x="317" y="232"/>
                      </a:lnTo>
                      <a:lnTo>
                        <a:pt x="301" y="219"/>
                      </a:lnTo>
                      <a:lnTo>
                        <a:pt x="293" y="223"/>
                      </a:lnTo>
                      <a:lnTo>
                        <a:pt x="289" y="219"/>
                      </a:lnTo>
                      <a:lnTo>
                        <a:pt x="291" y="216"/>
                      </a:lnTo>
                      <a:lnTo>
                        <a:pt x="290" y="212"/>
                      </a:lnTo>
                      <a:lnTo>
                        <a:pt x="182" y="225"/>
                      </a:lnTo>
                      <a:lnTo>
                        <a:pt x="179" y="225"/>
                      </a:lnTo>
                      <a:lnTo>
                        <a:pt x="177" y="228"/>
                      </a:lnTo>
                      <a:lnTo>
                        <a:pt x="155" y="238"/>
                      </a:lnTo>
                      <a:lnTo>
                        <a:pt x="154" y="243"/>
                      </a:lnTo>
                      <a:lnTo>
                        <a:pt x="147" y="243"/>
                      </a:lnTo>
                      <a:lnTo>
                        <a:pt x="123" y="255"/>
                      </a:lnTo>
                      <a:lnTo>
                        <a:pt x="0" y="272"/>
                      </a:lnTo>
                      <a:close/>
                    </a:path>
                  </a:pathLst>
                </a:custGeom>
                <a:solidFill>
                  <a:srgbClr val="002060"/>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5" name="Freeform 50">
                  <a:extLst>
                    <a:ext uri="{FF2B5EF4-FFF2-40B4-BE49-F238E27FC236}">
                      <a16:creationId xmlns:a16="http://schemas.microsoft.com/office/drawing/2014/main" id="{6C5AEF24-6FC1-49BF-A9E7-73E9D14B5F9E}"/>
                    </a:ext>
                  </a:extLst>
                </p:cNvPr>
                <p:cNvSpPr>
                  <a:spLocks/>
                </p:cNvSpPr>
                <p:nvPr/>
              </p:nvSpPr>
              <p:spPr bwMode="auto">
                <a:xfrm>
                  <a:off x="4788" y="1888"/>
                  <a:ext cx="336" cy="330"/>
                </a:xfrm>
                <a:custGeom>
                  <a:avLst/>
                  <a:gdLst>
                    <a:gd name="T0" fmla="*/ 122 w 366"/>
                    <a:gd name="T1" fmla="*/ 0 h 360"/>
                    <a:gd name="T2" fmla="*/ 120 w 366"/>
                    <a:gd name="T3" fmla="*/ 15 h 360"/>
                    <a:gd name="T4" fmla="*/ 124 w 366"/>
                    <a:gd name="T5" fmla="*/ 32 h 360"/>
                    <a:gd name="T6" fmla="*/ 115 w 366"/>
                    <a:gd name="T7" fmla="*/ 77 h 360"/>
                    <a:gd name="T8" fmla="*/ 117 w 366"/>
                    <a:gd name="T9" fmla="*/ 91 h 360"/>
                    <a:gd name="T10" fmla="*/ 109 w 366"/>
                    <a:gd name="T11" fmla="*/ 111 h 360"/>
                    <a:gd name="T12" fmla="*/ 90 w 366"/>
                    <a:gd name="T13" fmla="*/ 130 h 360"/>
                    <a:gd name="T14" fmla="*/ 80 w 366"/>
                    <a:gd name="T15" fmla="*/ 136 h 360"/>
                    <a:gd name="T16" fmla="*/ 67 w 366"/>
                    <a:gd name="T17" fmla="*/ 142 h 360"/>
                    <a:gd name="T18" fmla="*/ 59 w 366"/>
                    <a:gd name="T19" fmla="*/ 152 h 360"/>
                    <a:gd name="T20" fmla="*/ 55 w 366"/>
                    <a:gd name="T21" fmla="*/ 183 h 360"/>
                    <a:gd name="T22" fmla="*/ 39 w 366"/>
                    <a:gd name="T23" fmla="*/ 181 h 360"/>
                    <a:gd name="T24" fmla="*/ 24 w 366"/>
                    <a:gd name="T25" fmla="*/ 205 h 360"/>
                    <a:gd name="T26" fmla="*/ 24 w 366"/>
                    <a:gd name="T27" fmla="*/ 228 h 360"/>
                    <a:gd name="T28" fmla="*/ 11 w 366"/>
                    <a:gd name="T29" fmla="*/ 246 h 360"/>
                    <a:gd name="T30" fmla="*/ 3 w 366"/>
                    <a:gd name="T31" fmla="*/ 260 h 360"/>
                    <a:gd name="T32" fmla="*/ 2 w 366"/>
                    <a:gd name="T33" fmla="*/ 276 h 360"/>
                    <a:gd name="T34" fmla="*/ 20 w 366"/>
                    <a:gd name="T35" fmla="*/ 303 h 360"/>
                    <a:gd name="T36" fmla="*/ 33 w 366"/>
                    <a:gd name="T37" fmla="*/ 320 h 360"/>
                    <a:gd name="T38" fmla="*/ 45 w 366"/>
                    <a:gd name="T39" fmla="*/ 324 h 360"/>
                    <a:gd name="T40" fmla="*/ 50 w 366"/>
                    <a:gd name="T41" fmla="*/ 327 h 360"/>
                    <a:gd name="T42" fmla="*/ 61 w 366"/>
                    <a:gd name="T43" fmla="*/ 331 h 360"/>
                    <a:gd name="T44" fmla="*/ 61 w 366"/>
                    <a:gd name="T45" fmla="*/ 341 h 360"/>
                    <a:gd name="T46" fmla="*/ 91 w 366"/>
                    <a:gd name="T47" fmla="*/ 360 h 360"/>
                    <a:gd name="T48" fmla="*/ 109 w 366"/>
                    <a:gd name="T49" fmla="*/ 352 h 360"/>
                    <a:gd name="T50" fmla="*/ 116 w 366"/>
                    <a:gd name="T51" fmla="*/ 344 h 360"/>
                    <a:gd name="T52" fmla="*/ 127 w 366"/>
                    <a:gd name="T53" fmla="*/ 352 h 360"/>
                    <a:gd name="T54" fmla="*/ 153 w 366"/>
                    <a:gd name="T55" fmla="*/ 342 h 360"/>
                    <a:gd name="T56" fmla="*/ 159 w 366"/>
                    <a:gd name="T57" fmla="*/ 329 h 360"/>
                    <a:gd name="T58" fmla="*/ 179 w 366"/>
                    <a:gd name="T59" fmla="*/ 319 h 360"/>
                    <a:gd name="T60" fmla="*/ 199 w 366"/>
                    <a:gd name="T61" fmla="*/ 304 h 360"/>
                    <a:gd name="T62" fmla="*/ 196 w 366"/>
                    <a:gd name="T63" fmla="*/ 285 h 360"/>
                    <a:gd name="T64" fmla="*/ 227 w 366"/>
                    <a:gd name="T65" fmla="*/ 193 h 360"/>
                    <a:gd name="T66" fmla="*/ 240 w 366"/>
                    <a:gd name="T67" fmla="*/ 199 h 360"/>
                    <a:gd name="T68" fmla="*/ 247 w 366"/>
                    <a:gd name="T69" fmla="*/ 208 h 360"/>
                    <a:gd name="T70" fmla="*/ 264 w 366"/>
                    <a:gd name="T71" fmla="*/ 194 h 360"/>
                    <a:gd name="T72" fmla="*/ 276 w 366"/>
                    <a:gd name="T73" fmla="*/ 160 h 360"/>
                    <a:gd name="T74" fmla="*/ 292 w 366"/>
                    <a:gd name="T75" fmla="*/ 149 h 360"/>
                    <a:gd name="T76" fmla="*/ 305 w 366"/>
                    <a:gd name="T77" fmla="*/ 139 h 360"/>
                    <a:gd name="T78" fmla="*/ 314 w 366"/>
                    <a:gd name="T79" fmla="*/ 122 h 360"/>
                    <a:gd name="T80" fmla="*/ 312 w 366"/>
                    <a:gd name="T81" fmla="*/ 116 h 360"/>
                    <a:gd name="T82" fmla="*/ 315 w 366"/>
                    <a:gd name="T83" fmla="*/ 92 h 360"/>
                    <a:gd name="T84" fmla="*/ 355 w 366"/>
                    <a:gd name="T85" fmla="*/ 113 h 360"/>
                    <a:gd name="T86" fmla="*/ 362 w 366"/>
                    <a:gd name="T87" fmla="*/ 113 h 360"/>
                    <a:gd name="T88" fmla="*/ 357 w 366"/>
                    <a:gd name="T89" fmla="*/ 75 h 360"/>
                    <a:gd name="T90" fmla="*/ 350 w 366"/>
                    <a:gd name="T91" fmla="*/ 65 h 360"/>
                    <a:gd name="T92" fmla="*/ 337 w 366"/>
                    <a:gd name="T93" fmla="*/ 68 h 360"/>
                    <a:gd name="T94" fmla="*/ 306 w 366"/>
                    <a:gd name="T95" fmla="*/ 73 h 360"/>
                    <a:gd name="T96" fmla="*/ 292 w 366"/>
                    <a:gd name="T97" fmla="*/ 84 h 360"/>
                    <a:gd name="T98" fmla="*/ 279 w 366"/>
                    <a:gd name="T99" fmla="*/ 76 h 360"/>
                    <a:gd name="T100" fmla="*/ 268 w 366"/>
                    <a:gd name="T101" fmla="*/ 89 h 360"/>
                    <a:gd name="T102" fmla="*/ 255 w 366"/>
                    <a:gd name="T103" fmla="*/ 100 h 360"/>
                    <a:gd name="T104" fmla="*/ 235 w 366"/>
                    <a:gd name="T105" fmla="*/ 121 h 360"/>
                    <a:gd name="T106" fmla="*/ 219 w 366"/>
                    <a:gd name="T107" fmla="*/ 76 h 360"/>
                    <a:gd name="T108" fmla="*/ 124 w 366"/>
                    <a:gd name="T109"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6" h="360">
                      <a:moveTo>
                        <a:pt x="124" y="0"/>
                      </a:moveTo>
                      <a:lnTo>
                        <a:pt x="122" y="0"/>
                      </a:lnTo>
                      <a:lnTo>
                        <a:pt x="116" y="4"/>
                      </a:lnTo>
                      <a:lnTo>
                        <a:pt x="120" y="15"/>
                      </a:lnTo>
                      <a:lnTo>
                        <a:pt x="109" y="24"/>
                      </a:lnTo>
                      <a:lnTo>
                        <a:pt x="124" y="32"/>
                      </a:lnTo>
                      <a:lnTo>
                        <a:pt x="119" y="68"/>
                      </a:lnTo>
                      <a:lnTo>
                        <a:pt x="115" y="77"/>
                      </a:lnTo>
                      <a:lnTo>
                        <a:pt x="115" y="86"/>
                      </a:lnTo>
                      <a:lnTo>
                        <a:pt x="117" y="91"/>
                      </a:lnTo>
                      <a:lnTo>
                        <a:pt x="118" y="103"/>
                      </a:lnTo>
                      <a:lnTo>
                        <a:pt x="109" y="111"/>
                      </a:lnTo>
                      <a:lnTo>
                        <a:pt x="105" y="112"/>
                      </a:lnTo>
                      <a:lnTo>
                        <a:pt x="90" y="130"/>
                      </a:lnTo>
                      <a:lnTo>
                        <a:pt x="90" y="134"/>
                      </a:lnTo>
                      <a:lnTo>
                        <a:pt x="80" y="136"/>
                      </a:lnTo>
                      <a:lnTo>
                        <a:pt x="74" y="135"/>
                      </a:lnTo>
                      <a:lnTo>
                        <a:pt x="67" y="142"/>
                      </a:lnTo>
                      <a:lnTo>
                        <a:pt x="67" y="146"/>
                      </a:lnTo>
                      <a:lnTo>
                        <a:pt x="59" y="152"/>
                      </a:lnTo>
                      <a:lnTo>
                        <a:pt x="51" y="170"/>
                      </a:lnTo>
                      <a:lnTo>
                        <a:pt x="55" y="183"/>
                      </a:lnTo>
                      <a:lnTo>
                        <a:pt x="45" y="193"/>
                      </a:lnTo>
                      <a:lnTo>
                        <a:pt x="39" y="181"/>
                      </a:lnTo>
                      <a:lnTo>
                        <a:pt x="32" y="181"/>
                      </a:lnTo>
                      <a:lnTo>
                        <a:pt x="24" y="205"/>
                      </a:lnTo>
                      <a:lnTo>
                        <a:pt x="26" y="217"/>
                      </a:lnTo>
                      <a:lnTo>
                        <a:pt x="24" y="228"/>
                      </a:lnTo>
                      <a:lnTo>
                        <a:pt x="19" y="232"/>
                      </a:lnTo>
                      <a:lnTo>
                        <a:pt x="11" y="246"/>
                      </a:lnTo>
                      <a:lnTo>
                        <a:pt x="0" y="247"/>
                      </a:lnTo>
                      <a:lnTo>
                        <a:pt x="3" y="260"/>
                      </a:lnTo>
                      <a:lnTo>
                        <a:pt x="3" y="269"/>
                      </a:lnTo>
                      <a:lnTo>
                        <a:pt x="2" y="276"/>
                      </a:lnTo>
                      <a:lnTo>
                        <a:pt x="3" y="282"/>
                      </a:lnTo>
                      <a:lnTo>
                        <a:pt x="20" y="303"/>
                      </a:lnTo>
                      <a:lnTo>
                        <a:pt x="31" y="319"/>
                      </a:lnTo>
                      <a:lnTo>
                        <a:pt x="33" y="320"/>
                      </a:lnTo>
                      <a:lnTo>
                        <a:pt x="37" y="320"/>
                      </a:lnTo>
                      <a:lnTo>
                        <a:pt x="45" y="324"/>
                      </a:lnTo>
                      <a:lnTo>
                        <a:pt x="47" y="327"/>
                      </a:lnTo>
                      <a:lnTo>
                        <a:pt x="50" y="327"/>
                      </a:lnTo>
                      <a:lnTo>
                        <a:pt x="55" y="331"/>
                      </a:lnTo>
                      <a:lnTo>
                        <a:pt x="61" y="331"/>
                      </a:lnTo>
                      <a:lnTo>
                        <a:pt x="64" y="333"/>
                      </a:lnTo>
                      <a:lnTo>
                        <a:pt x="61" y="341"/>
                      </a:lnTo>
                      <a:lnTo>
                        <a:pt x="74" y="353"/>
                      </a:lnTo>
                      <a:lnTo>
                        <a:pt x="91" y="360"/>
                      </a:lnTo>
                      <a:lnTo>
                        <a:pt x="99" y="360"/>
                      </a:lnTo>
                      <a:lnTo>
                        <a:pt x="109" y="352"/>
                      </a:lnTo>
                      <a:lnTo>
                        <a:pt x="110" y="347"/>
                      </a:lnTo>
                      <a:lnTo>
                        <a:pt x="116" y="344"/>
                      </a:lnTo>
                      <a:lnTo>
                        <a:pt x="123" y="349"/>
                      </a:lnTo>
                      <a:lnTo>
                        <a:pt x="127" y="352"/>
                      </a:lnTo>
                      <a:lnTo>
                        <a:pt x="133" y="350"/>
                      </a:lnTo>
                      <a:lnTo>
                        <a:pt x="153" y="342"/>
                      </a:lnTo>
                      <a:lnTo>
                        <a:pt x="156" y="329"/>
                      </a:lnTo>
                      <a:lnTo>
                        <a:pt x="159" y="329"/>
                      </a:lnTo>
                      <a:lnTo>
                        <a:pt x="163" y="333"/>
                      </a:lnTo>
                      <a:lnTo>
                        <a:pt x="179" y="319"/>
                      </a:lnTo>
                      <a:lnTo>
                        <a:pt x="185" y="322"/>
                      </a:lnTo>
                      <a:lnTo>
                        <a:pt x="199" y="304"/>
                      </a:lnTo>
                      <a:lnTo>
                        <a:pt x="195" y="297"/>
                      </a:lnTo>
                      <a:lnTo>
                        <a:pt x="196" y="285"/>
                      </a:lnTo>
                      <a:lnTo>
                        <a:pt x="210" y="260"/>
                      </a:lnTo>
                      <a:lnTo>
                        <a:pt x="227" y="193"/>
                      </a:lnTo>
                      <a:lnTo>
                        <a:pt x="231" y="192"/>
                      </a:lnTo>
                      <a:lnTo>
                        <a:pt x="240" y="199"/>
                      </a:lnTo>
                      <a:lnTo>
                        <a:pt x="242" y="203"/>
                      </a:lnTo>
                      <a:lnTo>
                        <a:pt x="247" y="208"/>
                      </a:lnTo>
                      <a:lnTo>
                        <a:pt x="257" y="206"/>
                      </a:lnTo>
                      <a:lnTo>
                        <a:pt x="264" y="194"/>
                      </a:lnTo>
                      <a:lnTo>
                        <a:pt x="271" y="169"/>
                      </a:lnTo>
                      <a:lnTo>
                        <a:pt x="276" y="160"/>
                      </a:lnTo>
                      <a:lnTo>
                        <a:pt x="286" y="164"/>
                      </a:lnTo>
                      <a:lnTo>
                        <a:pt x="292" y="149"/>
                      </a:lnTo>
                      <a:lnTo>
                        <a:pt x="299" y="147"/>
                      </a:lnTo>
                      <a:lnTo>
                        <a:pt x="305" y="139"/>
                      </a:lnTo>
                      <a:lnTo>
                        <a:pt x="310" y="125"/>
                      </a:lnTo>
                      <a:lnTo>
                        <a:pt x="314" y="122"/>
                      </a:lnTo>
                      <a:lnTo>
                        <a:pt x="315" y="119"/>
                      </a:lnTo>
                      <a:lnTo>
                        <a:pt x="312" y="116"/>
                      </a:lnTo>
                      <a:lnTo>
                        <a:pt x="313" y="96"/>
                      </a:lnTo>
                      <a:lnTo>
                        <a:pt x="315" y="92"/>
                      </a:lnTo>
                      <a:lnTo>
                        <a:pt x="318" y="90"/>
                      </a:lnTo>
                      <a:lnTo>
                        <a:pt x="355" y="113"/>
                      </a:lnTo>
                      <a:lnTo>
                        <a:pt x="360" y="115"/>
                      </a:lnTo>
                      <a:lnTo>
                        <a:pt x="362" y="113"/>
                      </a:lnTo>
                      <a:lnTo>
                        <a:pt x="366" y="93"/>
                      </a:lnTo>
                      <a:lnTo>
                        <a:pt x="357" y="75"/>
                      </a:lnTo>
                      <a:lnTo>
                        <a:pt x="353" y="74"/>
                      </a:lnTo>
                      <a:lnTo>
                        <a:pt x="350" y="65"/>
                      </a:lnTo>
                      <a:lnTo>
                        <a:pt x="344" y="68"/>
                      </a:lnTo>
                      <a:lnTo>
                        <a:pt x="337" y="68"/>
                      </a:lnTo>
                      <a:lnTo>
                        <a:pt x="332" y="64"/>
                      </a:lnTo>
                      <a:lnTo>
                        <a:pt x="306" y="73"/>
                      </a:lnTo>
                      <a:lnTo>
                        <a:pt x="304" y="80"/>
                      </a:lnTo>
                      <a:lnTo>
                        <a:pt x="292" y="84"/>
                      </a:lnTo>
                      <a:lnTo>
                        <a:pt x="283" y="81"/>
                      </a:lnTo>
                      <a:lnTo>
                        <a:pt x="279" y="76"/>
                      </a:lnTo>
                      <a:lnTo>
                        <a:pt x="274" y="87"/>
                      </a:lnTo>
                      <a:lnTo>
                        <a:pt x="268" y="89"/>
                      </a:lnTo>
                      <a:lnTo>
                        <a:pt x="263" y="99"/>
                      </a:lnTo>
                      <a:lnTo>
                        <a:pt x="255" y="100"/>
                      </a:lnTo>
                      <a:lnTo>
                        <a:pt x="239" y="119"/>
                      </a:lnTo>
                      <a:lnTo>
                        <a:pt x="235" y="121"/>
                      </a:lnTo>
                      <a:lnTo>
                        <a:pt x="231" y="128"/>
                      </a:lnTo>
                      <a:lnTo>
                        <a:pt x="219" y="76"/>
                      </a:lnTo>
                      <a:lnTo>
                        <a:pt x="139" y="91"/>
                      </a:lnTo>
                      <a:lnTo>
                        <a:pt x="124" y="0"/>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6" name="Freeform 51">
                  <a:extLst>
                    <a:ext uri="{FF2B5EF4-FFF2-40B4-BE49-F238E27FC236}">
                      <a16:creationId xmlns:a16="http://schemas.microsoft.com/office/drawing/2014/main" id="{685ED57E-D458-4358-A26E-4CEE5B1831C9}"/>
                    </a:ext>
                  </a:extLst>
                </p:cNvPr>
                <p:cNvSpPr>
                  <a:spLocks/>
                </p:cNvSpPr>
                <p:nvPr/>
              </p:nvSpPr>
              <p:spPr bwMode="auto">
                <a:xfrm>
                  <a:off x="4590" y="1764"/>
                  <a:ext cx="312" cy="351"/>
                </a:xfrm>
                <a:custGeom>
                  <a:avLst/>
                  <a:gdLst>
                    <a:gd name="T0" fmla="*/ 31 w 340"/>
                    <a:gd name="T1" fmla="*/ 334 h 382"/>
                    <a:gd name="T2" fmla="*/ 45 w 340"/>
                    <a:gd name="T3" fmla="*/ 338 h 382"/>
                    <a:gd name="T4" fmla="*/ 59 w 340"/>
                    <a:gd name="T5" fmla="*/ 333 h 382"/>
                    <a:gd name="T6" fmla="*/ 80 w 340"/>
                    <a:gd name="T7" fmla="*/ 359 h 382"/>
                    <a:gd name="T8" fmla="*/ 109 w 340"/>
                    <a:gd name="T9" fmla="*/ 363 h 382"/>
                    <a:gd name="T10" fmla="*/ 132 w 340"/>
                    <a:gd name="T11" fmla="*/ 366 h 382"/>
                    <a:gd name="T12" fmla="*/ 152 w 340"/>
                    <a:gd name="T13" fmla="*/ 371 h 382"/>
                    <a:gd name="T14" fmla="*/ 166 w 340"/>
                    <a:gd name="T15" fmla="*/ 367 h 382"/>
                    <a:gd name="T16" fmla="*/ 174 w 340"/>
                    <a:gd name="T17" fmla="*/ 359 h 382"/>
                    <a:gd name="T18" fmla="*/ 187 w 340"/>
                    <a:gd name="T19" fmla="*/ 359 h 382"/>
                    <a:gd name="T20" fmla="*/ 204 w 340"/>
                    <a:gd name="T21" fmla="*/ 372 h 382"/>
                    <a:gd name="T22" fmla="*/ 216 w 340"/>
                    <a:gd name="T23" fmla="*/ 382 h 382"/>
                    <a:gd name="T24" fmla="*/ 235 w 340"/>
                    <a:gd name="T25" fmla="*/ 367 h 382"/>
                    <a:gd name="T26" fmla="*/ 242 w 340"/>
                    <a:gd name="T27" fmla="*/ 352 h 382"/>
                    <a:gd name="T28" fmla="*/ 248 w 340"/>
                    <a:gd name="T29" fmla="*/ 316 h 382"/>
                    <a:gd name="T30" fmla="*/ 261 w 340"/>
                    <a:gd name="T31" fmla="*/ 328 h 382"/>
                    <a:gd name="T32" fmla="*/ 267 w 340"/>
                    <a:gd name="T33" fmla="*/ 305 h 382"/>
                    <a:gd name="T34" fmla="*/ 283 w 340"/>
                    <a:gd name="T35" fmla="*/ 281 h 382"/>
                    <a:gd name="T36" fmla="*/ 290 w 340"/>
                    <a:gd name="T37" fmla="*/ 270 h 382"/>
                    <a:gd name="T38" fmla="*/ 306 w 340"/>
                    <a:gd name="T39" fmla="*/ 269 h 382"/>
                    <a:gd name="T40" fmla="*/ 321 w 340"/>
                    <a:gd name="T41" fmla="*/ 247 h 382"/>
                    <a:gd name="T42" fmla="*/ 334 w 340"/>
                    <a:gd name="T43" fmla="*/ 238 h 382"/>
                    <a:gd name="T44" fmla="*/ 331 w 340"/>
                    <a:gd name="T45" fmla="*/ 221 h 382"/>
                    <a:gd name="T46" fmla="*/ 335 w 340"/>
                    <a:gd name="T47" fmla="*/ 203 h 382"/>
                    <a:gd name="T48" fmla="*/ 325 w 340"/>
                    <a:gd name="T49" fmla="*/ 159 h 382"/>
                    <a:gd name="T50" fmla="*/ 332 w 340"/>
                    <a:gd name="T51" fmla="*/ 139 h 382"/>
                    <a:gd name="T52" fmla="*/ 340 w 340"/>
                    <a:gd name="T53" fmla="*/ 135 h 382"/>
                    <a:gd name="T54" fmla="*/ 278 w 340"/>
                    <a:gd name="T55" fmla="*/ 19 h 382"/>
                    <a:gd name="T56" fmla="*/ 255 w 340"/>
                    <a:gd name="T57" fmla="*/ 35 h 382"/>
                    <a:gd name="T58" fmla="*/ 226 w 340"/>
                    <a:gd name="T59" fmla="*/ 64 h 382"/>
                    <a:gd name="T60" fmla="*/ 207 w 340"/>
                    <a:gd name="T61" fmla="*/ 63 h 382"/>
                    <a:gd name="T62" fmla="*/ 181 w 340"/>
                    <a:gd name="T63" fmla="*/ 81 h 382"/>
                    <a:gd name="T64" fmla="*/ 159 w 340"/>
                    <a:gd name="T65" fmla="*/ 75 h 382"/>
                    <a:gd name="T66" fmla="*/ 150 w 340"/>
                    <a:gd name="T67" fmla="*/ 75 h 382"/>
                    <a:gd name="T68" fmla="*/ 151 w 340"/>
                    <a:gd name="T69" fmla="*/ 68 h 382"/>
                    <a:gd name="T70" fmla="*/ 115 w 340"/>
                    <a:gd name="T71" fmla="*/ 59 h 382"/>
                    <a:gd name="T72" fmla="*/ 99 w 340"/>
                    <a:gd name="T73" fmla="*/ 59 h 382"/>
                    <a:gd name="T74" fmla="*/ 0 w 340"/>
                    <a:gd name="T75" fmla="*/ 6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0" h="382">
                      <a:moveTo>
                        <a:pt x="0" y="68"/>
                      </a:moveTo>
                      <a:lnTo>
                        <a:pt x="31" y="334"/>
                      </a:lnTo>
                      <a:lnTo>
                        <a:pt x="37" y="334"/>
                      </a:lnTo>
                      <a:lnTo>
                        <a:pt x="45" y="338"/>
                      </a:lnTo>
                      <a:lnTo>
                        <a:pt x="50" y="338"/>
                      </a:lnTo>
                      <a:lnTo>
                        <a:pt x="59" y="333"/>
                      </a:lnTo>
                      <a:lnTo>
                        <a:pt x="75" y="345"/>
                      </a:lnTo>
                      <a:lnTo>
                        <a:pt x="80" y="359"/>
                      </a:lnTo>
                      <a:lnTo>
                        <a:pt x="92" y="364"/>
                      </a:lnTo>
                      <a:lnTo>
                        <a:pt x="109" y="363"/>
                      </a:lnTo>
                      <a:lnTo>
                        <a:pt x="126" y="375"/>
                      </a:lnTo>
                      <a:lnTo>
                        <a:pt x="132" y="366"/>
                      </a:lnTo>
                      <a:lnTo>
                        <a:pt x="138" y="365"/>
                      </a:lnTo>
                      <a:lnTo>
                        <a:pt x="152" y="371"/>
                      </a:lnTo>
                      <a:lnTo>
                        <a:pt x="164" y="369"/>
                      </a:lnTo>
                      <a:lnTo>
                        <a:pt x="166" y="367"/>
                      </a:lnTo>
                      <a:lnTo>
                        <a:pt x="171" y="363"/>
                      </a:lnTo>
                      <a:lnTo>
                        <a:pt x="174" y="359"/>
                      </a:lnTo>
                      <a:lnTo>
                        <a:pt x="183" y="352"/>
                      </a:lnTo>
                      <a:lnTo>
                        <a:pt x="187" y="359"/>
                      </a:lnTo>
                      <a:lnTo>
                        <a:pt x="195" y="370"/>
                      </a:lnTo>
                      <a:lnTo>
                        <a:pt x="204" y="372"/>
                      </a:lnTo>
                      <a:lnTo>
                        <a:pt x="213" y="379"/>
                      </a:lnTo>
                      <a:lnTo>
                        <a:pt x="216" y="382"/>
                      </a:lnTo>
                      <a:lnTo>
                        <a:pt x="227" y="381"/>
                      </a:lnTo>
                      <a:lnTo>
                        <a:pt x="235" y="367"/>
                      </a:lnTo>
                      <a:lnTo>
                        <a:pt x="240" y="363"/>
                      </a:lnTo>
                      <a:lnTo>
                        <a:pt x="242" y="352"/>
                      </a:lnTo>
                      <a:lnTo>
                        <a:pt x="240" y="340"/>
                      </a:lnTo>
                      <a:lnTo>
                        <a:pt x="248" y="316"/>
                      </a:lnTo>
                      <a:lnTo>
                        <a:pt x="255" y="316"/>
                      </a:lnTo>
                      <a:lnTo>
                        <a:pt x="261" y="328"/>
                      </a:lnTo>
                      <a:lnTo>
                        <a:pt x="271" y="318"/>
                      </a:lnTo>
                      <a:lnTo>
                        <a:pt x="267" y="305"/>
                      </a:lnTo>
                      <a:lnTo>
                        <a:pt x="275" y="287"/>
                      </a:lnTo>
                      <a:lnTo>
                        <a:pt x="283" y="281"/>
                      </a:lnTo>
                      <a:lnTo>
                        <a:pt x="283" y="277"/>
                      </a:lnTo>
                      <a:lnTo>
                        <a:pt x="290" y="270"/>
                      </a:lnTo>
                      <a:lnTo>
                        <a:pt x="296" y="271"/>
                      </a:lnTo>
                      <a:lnTo>
                        <a:pt x="306" y="269"/>
                      </a:lnTo>
                      <a:lnTo>
                        <a:pt x="306" y="265"/>
                      </a:lnTo>
                      <a:lnTo>
                        <a:pt x="321" y="247"/>
                      </a:lnTo>
                      <a:lnTo>
                        <a:pt x="325" y="246"/>
                      </a:lnTo>
                      <a:lnTo>
                        <a:pt x="334" y="238"/>
                      </a:lnTo>
                      <a:lnTo>
                        <a:pt x="333" y="226"/>
                      </a:lnTo>
                      <a:lnTo>
                        <a:pt x="331" y="221"/>
                      </a:lnTo>
                      <a:lnTo>
                        <a:pt x="331" y="212"/>
                      </a:lnTo>
                      <a:lnTo>
                        <a:pt x="335" y="203"/>
                      </a:lnTo>
                      <a:lnTo>
                        <a:pt x="340" y="167"/>
                      </a:lnTo>
                      <a:lnTo>
                        <a:pt x="325" y="159"/>
                      </a:lnTo>
                      <a:lnTo>
                        <a:pt x="336" y="150"/>
                      </a:lnTo>
                      <a:lnTo>
                        <a:pt x="332" y="139"/>
                      </a:lnTo>
                      <a:lnTo>
                        <a:pt x="338" y="135"/>
                      </a:lnTo>
                      <a:lnTo>
                        <a:pt x="340" y="135"/>
                      </a:lnTo>
                      <a:lnTo>
                        <a:pt x="316" y="0"/>
                      </a:lnTo>
                      <a:lnTo>
                        <a:pt x="278" y="19"/>
                      </a:lnTo>
                      <a:lnTo>
                        <a:pt x="261" y="30"/>
                      </a:lnTo>
                      <a:lnTo>
                        <a:pt x="255" y="35"/>
                      </a:lnTo>
                      <a:lnTo>
                        <a:pt x="232" y="60"/>
                      </a:lnTo>
                      <a:lnTo>
                        <a:pt x="226" y="64"/>
                      </a:lnTo>
                      <a:lnTo>
                        <a:pt x="219" y="63"/>
                      </a:lnTo>
                      <a:lnTo>
                        <a:pt x="207" y="63"/>
                      </a:lnTo>
                      <a:lnTo>
                        <a:pt x="199" y="65"/>
                      </a:lnTo>
                      <a:lnTo>
                        <a:pt x="181" y="81"/>
                      </a:lnTo>
                      <a:lnTo>
                        <a:pt x="174" y="79"/>
                      </a:lnTo>
                      <a:lnTo>
                        <a:pt x="159" y="75"/>
                      </a:lnTo>
                      <a:lnTo>
                        <a:pt x="155" y="77"/>
                      </a:lnTo>
                      <a:lnTo>
                        <a:pt x="150" y="75"/>
                      </a:lnTo>
                      <a:lnTo>
                        <a:pt x="154" y="69"/>
                      </a:lnTo>
                      <a:lnTo>
                        <a:pt x="151" y="68"/>
                      </a:lnTo>
                      <a:lnTo>
                        <a:pt x="139" y="67"/>
                      </a:lnTo>
                      <a:lnTo>
                        <a:pt x="115" y="59"/>
                      </a:lnTo>
                      <a:lnTo>
                        <a:pt x="111" y="57"/>
                      </a:lnTo>
                      <a:lnTo>
                        <a:pt x="99" y="59"/>
                      </a:lnTo>
                      <a:lnTo>
                        <a:pt x="99" y="55"/>
                      </a:lnTo>
                      <a:lnTo>
                        <a:pt x="0" y="68"/>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7" name="Freeform 52">
                  <a:extLst>
                    <a:ext uri="{FF2B5EF4-FFF2-40B4-BE49-F238E27FC236}">
                      <a16:creationId xmlns:a16="http://schemas.microsoft.com/office/drawing/2014/main" id="{35D3CCEE-108E-4404-B032-5E6B0E1AE751}"/>
                    </a:ext>
                  </a:extLst>
                </p:cNvPr>
                <p:cNvSpPr>
                  <a:spLocks/>
                </p:cNvSpPr>
                <p:nvPr/>
              </p:nvSpPr>
              <p:spPr bwMode="auto">
                <a:xfrm>
                  <a:off x="4989" y="1908"/>
                  <a:ext cx="342" cy="164"/>
                </a:xfrm>
                <a:custGeom>
                  <a:avLst/>
                  <a:gdLst>
                    <a:gd name="T0" fmla="*/ 215 w 373"/>
                    <a:gd name="T1" fmla="*/ 12 h 178"/>
                    <a:gd name="T2" fmla="*/ 12 w 373"/>
                    <a:gd name="T3" fmla="*/ 106 h 178"/>
                    <a:gd name="T4" fmla="*/ 20 w 373"/>
                    <a:gd name="T5" fmla="*/ 97 h 178"/>
                    <a:gd name="T6" fmla="*/ 44 w 373"/>
                    <a:gd name="T7" fmla="*/ 77 h 178"/>
                    <a:gd name="T8" fmla="*/ 55 w 373"/>
                    <a:gd name="T9" fmla="*/ 65 h 178"/>
                    <a:gd name="T10" fmla="*/ 64 w 373"/>
                    <a:gd name="T11" fmla="*/ 59 h 178"/>
                    <a:gd name="T12" fmla="*/ 85 w 373"/>
                    <a:gd name="T13" fmla="*/ 58 h 178"/>
                    <a:gd name="T14" fmla="*/ 113 w 373"/>
                    <a:gd name="T15" fmla="*/ 42 h 178"/>
                    <a:gd name="T16" fmla="*/ 125 w 373"/>
                    <a:gd name="T17" fmla="*/ 46 h 178"/>
                    <a:gd name="T18" fmla="*/ 134 w 373"/>
                    <a:gd name="T19" fmla="*/ 52 h 178"/>
                    <a:gd name="T20" fmla="*/ 147 w 373"/>
                    <a:gd name="T21" fmla="*/ 71 h 178"/>
                    <a:gd name="T22" fmla="*/ 160 w 373"/>
                    <a:gd name="T23" fmla="*/ 74 h 178"/>
                    <a:gd name="T24" fmla="*/ 163 w 373"/>
                    <a:gd name="T25" fmla="*/ 84 h 178"/>
                    <a:gd name="T26" fmla="*/ 187 w 373"/>
                    <a:gd name="T27" fmla="*/ 94 h 178"/>
                    <a:gd name="T28" fmla="*/ 204 w 373"/>
                    <a:gd name="T29" fmla="*/ 105 h 178"/>
                    <a:gd name="T30" fmla="*/ 209 w 373"/>
                    <a:gd name="T31" fmla="*/ 118 h 178"/>
                    <a:gd name="T32" fmla="*/ 193 w 373"/>
                    <a:gd name="T33" fmla="*/ 152 h 178"/>
                    <a:gd name="T34" fmla="*/ 207 w 373"/>
                    <a:gd name="T35" fmla="*/ 164 h 178"/>
                    <a:gd name="T36" fmla="*/ 225 w 373"/>
                    <a:gd name="T37" fmla="*/ 167 h 178"/>
                    <a:gd name="T38" fmla="*/ 230 w 373"/>
                    <a:gd name="T39" fmla="*/ 166 h 178"/>
                    <a:gd name="T40" fmla="*/ 253 w 373"/>
                    <a:gd name="T41" fmla="*/ 165 h 178"/>
                    <a:gd name="T42" fmla="*/ 277 w 373"/>
                    <a:gd name="T43" fmla="*/ 174 h 178"/>
                    <a:gd name="T44" fmla="*/ 281 w 373"/>
                    <a:gd name="T45" fmla="*/ 170 h 178"/>
                    <a:gd name="T46" fmla="*/ 270 w 373"/>
                    <a:gd name="T47" fmla="*/ 154 h 178"/>
                    <a:gd name="T48" fmla="*/ 262 w 373"/>
                    <a:gd name="T49" fmla="*/ 151 h 178"/>
                    <a:gd name="T50" fmla="*/ 265 w 373"/>
                    <a:gd name="T51" fmla="*/ 148 h 178"/>
                    <a:gd name="T52" fmla="*/ 260 w 373"/>
                    <a:gd name="T53" fmla="*/ 141 h 178"/>
                    <a:gd name="T54" fmla="*/ 248 w 373"/>
                    <a:gd name="T55" fmla="*/ 113 h 178"/>
                    <a:gd name="T56" fmla="*/ 245 w 373"/>
                    <a:gd name="T57" fmla="*/ 95 h 178"/>
                    <a:gd name="T58" fmla="*/ 247 w 373"/>
                    <a:gd name="T59" fmla="*/ 72 h 178"/>
                    <a:gd name="T60" fmla="*/ 243 w 373"/>
                    <a:gd name="T61" fmla="*/ 64 h 178"/>
                    <a:gd name="T62" fmla="*/ 247 w 373"/>
                    <a:gd name="T63" fmla="*/ 56 h 178"/>
                    <a:gd name="T64" fmla="*/ 263 w 373"/>
                    <a:gd name="T65" fmla="*/ 39 h 178"/>
                    <a:gd name="T66" fmla="*/ 269 w 373"/>
                    <a:gd name="T67" fmla="*/ 22 h 178"/>
                    <a:gd name="T68" fmla="*/ 281 w 373"/>
                    <a:gd name="T69" fmla="*/ 28 h 178"/>
                    <a:gd name="T70" fmla="*/ 270 w 373"/>
                    <a:gd name="T71" fmla="*/ 47 h 178"/>
                    <a:gd name="T72" fmla="*/ 261 w 373"/>
                    <a:gd name="T73" fmla="*/ 62 h 178"/>
                    <a:gd name="T74" fmla="*/ 272 w 373"/>
                    <a:gd name="T75" fmla="*/ 74 h 178"/>
                    <a:gd name="T76" fmla="*/ 275 w 373"/>
                    <a:gd name="T77" fmla="*/ 96 h 178"/>
                    <a:gd name="T78" fmla="*/ 266 w 373"/>
                    <a:gd name="T79" fmla="*/ 106 h 178"/>
                    <a:gd name="T80" fmla="*/ 277 w 373"/>
                    <a:gd name="T81" fmla="*/ 114 h 178"/>
                    <a:gd name="T82" fmla="*/ 277 w 373"/>
                    <a:gd name="T83" fmla="*/ 127 h 178"/>
                    <a:gd name="T84" fmla="*/ 281 w 373"/>
                    <a:gd name="T85" fmla="*/ 143 h 178"/>
                    <a:gd name="T86" fmla="*/ 298 w 373"/>
                    <a:gd name="T87" fmla="*/ 151 h 178"/>
                    <a:gd name="T88" fmla="*/ 309 w 373"/>
                    <a:gd name="T89" fmla="*/ 148 h 178"/>
                    <a:gd name="T90" fmla="*/ 310 w 373"/>
                    <a:gd name="T91" fmla="*/ 156 h 178"/>
                    <a:gd name="T92" fmla="*/ 317 w 373"/>
                    <a:gd name="T93" fmla="*/ 171 h 178"/>
                    <a:gd name="T94" fmla="*/ 330 w 373"/>
                    <a:gd name="T95" fmla="*/ 177 h 178"/>
                    <a:gd name="T96" fmla="*/ 337 w 373"/>
                    <a:gd name="T97" fmla="*/ 170 h 178"/>
                    <a:gd name="T98" fmla="*/ 365 w 373"/>
                    <a:gd name="T99" fmla="*/ 158 h 178"/>
                    <a:gd name="T100" fmla="*/ 373 w 373"/>
                    <a:gd name="T101" fmla="*/ 118 h 178"/>
                    <a:gd name="T102" fmla="*/ 321 w 373"/>
                    <a:gd name="T103" fmla="*/ 12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178">
                      <a:moveTo>
                        <a:pt x="283" y="0"/>
                      </a:moveTo>
                      <a:lnTo>
                        <a:pt x="215" y="12"/>
                      </a:lnTo>
                      <a:lnTo>
                        <a:pt x="0" y="54"/>
                      </a:lnTo>
                      <a:lnTo>
                        <a:pt x="12" y="106"/>
                      </a:lnTo>
                      <a:lnTo>
                        <a:pt x="16" y="99"/>
                      </a:lnTo>
                      <a:lnTo>
                        <a:pt x="20" y="97"/>
                      </a:lnTo>
                      <a:lnTo>
                        <a:pt x="36" y="78"/>
                      </a:lnTo>
                      <a:lnTo>
                        <a:pt x="44" y="77"/>
                      </a:lnTo>
                      <a:lnTo>
                        <a:pt x="49" y="67"/>
                      </a:lnTo>
                      <a:lnTo>
                        <a:pt x="55" y="65"/>
                      </a:lnTo>
                      <a:lnTo>
                        <a:pt x="60" y="54"/>
                      </a:lnTo>
                      <a:lnTo>
                        <a:pt x="64" y="59"/>
                      </a:lnTo>
                      <a:lnTo>
                        <a:pt x="73" y="62"/>
                      </a:lnTo>
                      <a:lnTo>
                        <a:pt x="85" y="58"/>
                      </a:lnTo>
                      <a:lnTo>
                        <a:pt x="87" y="51"/>
                      </a:lnTo>
                      <a:lnTo>
                        <a:pt x="113" y="42"/>
                      </a:lnTo>
                      <a:lnTo>
                        <a:pt x="118" y="46"/>
                      </a:lnTo>
                      <a:lnTo>
                        <a:pt x="125" y="46"/>
                      </a:lnTo>
                      <a:lnTo>
                        <a:pt x="131" y="43"/>
                      </a:lnTo>
                      <a:lnTo>
                        <a:pt x="134" y="52"/>
                      </a:lnTo>
                      <a:lnTo>
                        <a:pt x="138" y="53"/>
                      </a:lnTo>
                      <a:lnTo>
                        <a:pt x="147" y="71"/>
                      </a:lnTo>
                      <a:lnTo>
                        <a:pt x="153" y="71"/>
                      </a:lnTo>
                      <a:lnTo>
                        <a:pt x="160" y="74"/>
                      </a:lnTo>
                      <a:lnTo>
                        <a:pt x="168" y="76"/>
                      </a:lnTo>
                      <a:lnTo>
                        <a:pt x="163" y="84"/>
                      </a:lnTo>
                      <a:lnTo>
                        <a:pt x="172" y="94"/>
                      </a:lnTo>
                      <a:lnTo>
                        <a:pt x="187" y="94"/>
                      </a:lnTo>
                      <a:lnTo>
                        <a:pt x="194" y="101"/>
                      </a:lnTo>
                      <a:lnTo>
                        <a:pt x="204" y="105"/>
                      </a:lnTo>
                      <a:lnTo>
                        <a:pt x="211" y="114"/>
                      </a:lnTo>
                      <a:lnTo>
                        <a:pt x="209" y="118"/>
                      </a:lnTo>
                      <a:lnTo>
                        <a:pt x="200" y="136"/>
                      </a:lnTo>
                      <a:lnTo>
                        <a:pt x="193" y="152"/>
                      </a:lnTo>
                      <a:lnTo>
                        <a:pt x="195" y="163"/>
                      </a:lnTo>
                      <a:lnTo>
                        <a:pt x="207" y="164"/>
                      </a:lnTo>
                      <a:lnTo>
                        <a:pt x="217" y="158"/>
                      </a:lnTo>
                      <a:lnTo>
                        <a:pt x="225" y="167"/>
                      </a:lnTo>
                      <a:lnTo>
                        <a:pt x="230" y="170"/>
                      </a:lnTo>
                      <a:lnTo>
                        <a:pt x="230" y="166"/>
                      </a:lnTo>
                      <a:lnTo>
                        <a:pt x="241" y="164"/>
                      </a:lnTo>
                      <a:lnTo>
                        <a:pt x="253" y="165"/>
                      </a:lnTo>
                      <a:lnTo>
                        <a:pt x="269" y="170"/>
                      </a:lnTo>
                      <a:lnTo>
                        <a:pt x="277" y="174"/>
                      </a:lnTo>
                      <a:lnTo>
                        <a:pt x="281" y="174"/>
                      </a:lnTo>
                      <a:lnTo>
                        <a:pt x="281" y="170"/>
                      </a:lnTo>
                      <a:lnTo>
                        <a:pt x="277" y="166"/>
                      </a:lnTo>
                      <a:lnTo>
                        <a:pt x="270" y="154"/>
                      </a:lnTo>
                      <a:lnTo>
                        <a:pt x="263" y="153"/>
                      </a:lnTo>
                      <a:lnTo>
                        <a:pt x="262" y="151"/>
                      </a:lnTo>
                      <a:lnTo>
                        <a:pt x="263" y="148"/>
                      </a:lnTo>
                      <a:lnTo>
                        <a:pt x="265" y="148"/>
                      </a:lnTo>
                      <a:lnTo>
                        <a:pt x="269" y="144"/>
                      </a:lnTo>
                      <a:lnTo>
                        <a:pt x="260" y="141"/>
                      </a:lnTo>
                      <a:lnTo>
                        <a:pt x="253" y="130"/>
                      </a:lnTo>
                      <a:lnTo>
                        <a:pt x="248" y="113"/>
                      </a:lnTo>
                      <a:lnTo>
                        <a:pt x="246" y="106"/>
                      </a:lnTo>
                      <a:lnTo>
                        <a:pt x="245" y="95"/>
                      </a:lnTo>
                      <a:lnTo>
                        <a:pt x="248" y="78"/>
                      </a:lnTo>
                      <a:lnTo>
                        <a:pt x="247" y="72"/>
                      </a:lnTo>
                      <a:lnTo>
                        <a:pt x="244" y="69"/>
                      </a:lnTo>
                      <a:lnTo>
                        <a:pt x="243" y="64"/>
                      </a:lnTo>
                      <a:lnTo>
                        <a:pt x="245" y="60"/>
                      </a:lnTo>
                      <a:lnTo>
                        <a:pt x="247" y="56"/>
                      </a:lnTo>
                      <a:lnTo>
                        <a:pt x="249" y="50"/>
                      </a:lnTo>
                      <a:lnTo>
                        <a:pt x="263" y="39"/>
                      </a:lnTo>
                      <a:lnTo>
                        <a:pt x="265" y="36"/>
                      </a:lnTo>
                      <a:lnTo>
                        <a:pt x="269" y="22"/>
                      </a:lnTo>
                      <a:lnTo>
                        <a:pt x="278" y="23"/>
                      </a:lnTo>
                      <a:lnTo>
                        <a:pt x="281" y="28"/>
                      </a:lnTo>
                      <a:lnTo>
                        <a:pt x="275" y="39"/>
                      </a:lnTo>
                      <a:lnTo>
                        <a:pt x="270" y="47"/>
                      </a:lnTo>
                      <a:lnTo>
                        <a:pt x="265" y="54"/>
                      </a:lnTo>
                      <a:lnTo>
                        <a:pt x="261" y="62"/>
                      </a:lnTo>
                      <a:lnTo>
                        <a:pt x="265" y="71"/>
                      </a:lnTo>
                      <a:lnTo>
                        <a:pt x="272" y="74"/>
                      </a:lnTo>
                      <a:lnTo>
                        <a:pt x="276" y="93"/>
                      </a:lnTo>
                      <a:lnTo>
                        <a:pt x="275" y="96"/>
                      </a:lnTo>
                      <a:lnTo>
                        <a:pt x="265" y="102"/>
                      </a:lnTo>
                      <a:lnTo>
                        <a:pt x="266" y="106"/>
                      </a:lnTo>
                      <a:lnTo>
                        <a:pt x="275" y="110"/>
                      </a:lnTo>
                      <a:lnTo>
                        <a:pt x="277" y="114"/>
                      </a:lnTo>
                      <a:lnTo>
                        <a:pt x="275" y="122"/>
                      </a:lnTo>
                      <a:lnTo>
                        <a:pt x="277" y="127"/>
                      </a:lnTo>
                      <a:lnTo>
                        <a:pt x="277" y="132"/>
                      </a:lnTo>
                      <a:lnTo>
                        <a:pt x="281" y="143"/>
                      </a:lnTo>
                      <a:lnTo>
                        <a:pt x="293" y="151"/>
                      </a:lnTo>
                      <a:lnTo>
                        <a:pt x="298" y="151"/>
                      </a:lnTo>
                      <a:lnTo>
                        <a:pt x="302" y="148"/>
                      </a:lnTo>
                      <a:lnTo>
                        <a:pt x="309" y="148"/>
                      </a:lnTo>
                      <a:lnTo>
                        <a:pt x="312" y="150"/>
                      </a:lnTo>
                      <a:lnTo>
                        <a:pt x="310" y="156"/>
                      </a:lnTo>
                      <a:lnTo>
                        <a:pt x="317" y="167"/>
                      </a:lnTo>
                      <a:lnTo>
                        <a:pt x="317" y="171"/>
                      </a:lnTo>
                      <a:lnTo>
                        <a:pt x="321" y="178"/>
                      </a:lnTo>
                      <a:lnTo>
                        <a:pt x="330" y="177"/>
                      </a:lnTo>
                      <a:lnTo>
                        <a:pt x="332" y="178"/>
                      </a:lnTo>
                      <a:lnTo>
                        <a:pt x="337" y="170"/>
                      </a:lnTo>
                      <a:lnTo>
                        <a:pt x="364" y="162"/>
                      </a:lnTo>
                      <a:lnTo>
                        <a:pt x="365" y="158"/>
                      </a:lnTo>
                      <a:lnTo>
                        <a:pt x="366" y="151"/>
                      </a:lnTo>
                      <a:lnTo>
                        <a:pt x="373" y="118"/>
                      </a:lnTo>
                      <a:lnTo>
                        <a:pt x="372" y="114"/>
                      </a:lnTo>
                      <a:lnTo>
                        <a:pt x="321" y="126"/>
                      </a:lnTo>
                      <a:lnTo>
                        <a:pt x="283" y="0"/>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8" name="Freeform 53">
                  <a:extLst>
                    <a:ext uri="{FF2B5EF4-FFF2-40B4-BE49-F238E27FC236}">
                      <a16:creationId xmlns:a16="http://schemas.microsoft.com/office/drawing/2014/main" id="{C42800BC-AFED-43B0-8C52-BC42749D1CAC}"/>
                    </a:ext>
                  </a:extLst>
                </p:cNvPr>
                <p:cNvSpPr>
                  <a:spLocks/>
                </p:cNvSpPr>
                <p:nvPr/>
              </p:nvSpPr>
              <p:spPr bwMode="auto">
                <a:xfrm>
                  <a:off x="5249" y="1892"/>
                  <a:ext cx="81" cy="132"/>
                </a:xfrm>
                <a:custGeom>
                  <a:avLst/>
                  <a:gdLst>
                    <a:gd name="T0" fmla="*/ 89 w 89"/>
                    <a:gd name="T1" fmla="*/ 131 h 143"/>
                    <a:gd name="T2" fmla="*/ 87 w 89"/>
                    <a:gd name="T3" fmla="*/ 122 h 143"/>
                    <a:gd name="T4" fmla="*/ 82 w 89"/>
                    <a:gd name="T5" fmla="*/ 107 h 143"/>
                    <a:gd name="T6" fmla="*/ 72 w 89"/>
                    <a:gd name="T7" fmla="*/ 98 h 143"/>
                    <a:gd name="T8" fmla="*/ 58 w 89"/>
                    <a:gd name="T9" fmla="*/ 88 h 143"/>
                    <a:gd name="T10" fmla="*/ 53 w 89"/>
                    <a:gd name="T11" fmla="*/ 82 h 143"/>
                    <a:gd name="T12" fmla="*/ 50 w 89"/>
                    <a:gd name="T13" fmla="*/ 75 h 143"/>
                    <a:gd name="T14" fmla="*/ 38 w 89"/>
                    <a:gd name="T15" fmla="*/ 56 h 143"/>
                    <a:gd name="T16" fmla="*/ 34 w 89"/>
                    <a:gd name="T17" fmla="*/ 48 h 143"/>
                    <a:gd name="T18" fmla="*/ 25 w 89"/>
                    <a:gd name="T19" fmla="*/ 38 h 143"/>
                    <a:gd name="T20" fmla="*/ 22 w 89"/>
                    <a:gd name="T21" fmla="*/ 31 h 143"/>
                    <a:gd name="T22" fmla="*/ 21 w 89"/>
                    <a:gd name="T23" fmla="*/ 24 h 143"/>
                    <a:gd name="T24" fmla="*/ 22 w 89"/>
                    <a:gd name="T25" fmla="*/ 23 h 143"/>
                    <a:gd name="T26" fmla="*/ 22 w 89"/>
                    <a:gd name="T27" fmla="*/ 20 h 143"/>
                    <a:gd name="T28" fmla="*/ 26 w 89"/>
                    <a:gd name="T29" fmla="*/ 2 h 143"/>
                    <a:gd name="T30" fmla="*/ 20 w 89"/>
                    <a:gd name="T31" fmla="*/ 0 h 143"/>
                    <a:gd name="T32" fmla="*/ 11 w 89"/>
                    <a:gd name="T33" fmla="*/ 1 h 143"/>
                    <a:gd name="T34" fmla="*/ 4 w 89"/>
                    <a:gd name="T35" fmla="*/ 8 h 143"/>
                    <a:gd name="T36" fmla="*/ 3 w 89"/>
                    <a:gd name="T37" fmla="*/ 15 h 143"/>
                    <a:gd name="T38" fmla="*/ 1 w 89"/>
                    <a:gd name="T39" fmla="*/ 16 h 143"/>
                    <a:gd name="T40" fmla="*/ 0 w 89"/>
                    <a:gd name="T41" fmla="*/ 17 h 143"/>
                    <a:gd name="T42" fmla="*/ 38 w 89"/>
                    <a:gd name="T43" fmla="*/ 143 h 143"/>
                    <a:gd name="T44" fmla="*/ 89 w 89"/>
                    <a:gd name="T45" fmla="*/ 13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143">
                      <a:moveTo>
                        <a:pt x="89" y="131"/>
                      </a:moveTo>
                      <a:lnTo>
                        <a:pt x="87" y="122"/>
                      </a:lnTo>
                      <a:lnTo>
                        <a:pt x="82" y="107"/>
                      </a:lnTo>
                      <a:lnTo>
                        <a:pt x="72" y="98"/>
                      </a:lnTo>
                      <a:lnTo>
                        <a:pt x="58" y="88"/>
                      </a:lnTo>
                      <a:lnTo>
                        <a:pt x="53" y="82"/>
                      </a:lnTo>
                      <a:lnTo>
                        <a:pt x="50" y="75"/>
                      </a:lnTo>
                      <a:lnTo>
                        <a:pt x="38" y="56"/>
                      </a:lnTo>
                      <a:lnTo>
                        <a:pt x="34" y="48"/>
                      </a:lnTo>
                      <a:lnTo>
                        <a:pt x="25" y="38"/>
                      </a:lnTo>
                      <a:lnTo>
                        <a:pt x="22" y="31"/>
                      </a:lnTo>
                      <a:lnTo>
                        <a:pt x="21" y="24"/>
                      </a:lnTo>
                      <a:lnTo>
                        <a:pt x="22" y="23"/>
                      </a:lnTo>
                      <a:lnTo>
                        <a:pt x="22" y="20"/>
                      </a:lnTo>
                      <a:lnTo>
                        <a:pt x="26" y="2"/>
                      </a:lnTo>
                      <a:lnTo>
                        <a:pt x="20" y="0"/>
                      </a:lnTo>
                      <a:lnTo>
                        <a:pt x="11" y="1"/>
                      </a:lnTo>
                      <a:lnTo>
                        <a:pt x="4" y="8"/>
                      </a:lnTo>
                      <a:lnTo>
                        <a:pt x="3" y="15"/>
                      </a:lnTo>
                      <a:lnTo>
                        <a:pt x="1" y="16"/>
                      </a:lnTo>
                      <a:lnTo>
                        <a:pt x="0" y="17"/>
                      </a:lnTo>
                      <a:lnTo>
                        <a:pt x="38" y="143"/>
                      </a:lnTo>
                      <a:lnTo>
                        <a:pt x="89" y="131"/>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49" name="Freeform 54">
                  <a:extLst>
                    <a:ext uri="{FF2B5EF4-FFF2-40B4-BE49-F238E27FC236}">
                      <a16:creationId xmlns:a16="http://schemas.microsoft.com/office/drawing/2014/main" id="{E50E7CFE-A955-4265-B3DE-5B0F78D5CD8B}"/>
                    </a:ext>
                  </a:extLst>
                </p:cNvPr>
                <p:cNvSpPr>
                  <a:spLocks/>
                </p:cNvSpPr>
                <p:nvPr/>
              </p:nvSpPr>
              <p:spPr bwMode="auto">
                <a:xfrm>
                  <a:off x="5269" y="1740"/>
                  <a:ext cx="102" cy="228"/>
                </a:xfrm>
                <a:custGeom>
                  <a:avLst/>
                  <a:gdLst>
                    <a:gd name="T0" fmla="*/ 0 w 111"/>
                    <a:gd name="T1" fmla="*/ 186 h 249"/>
                    <a:gd name="T2" fmla="*/ 3 w 111"/>
                    <a:gd name="T3" fmla="*/ 188 h 249"/>
                    <a:gd name="T4" fmla="*/ 14 w 111"/>
                    <a:gd name="T5" fmla="*/ 205 h 249"/>
                    <a:gd name="T6" fmla="*/ 38 w 111"/>
                    <a:gd name="T7" fmla="*/ 221 h 249"/>
                    <a:gd name="T8" fmla="*/ 56 w 111"/>
                    <a:gd name="T9" fmla="*/ 225 h 249"/>
                    <a:gd name="T10" fmla="*/ 62 w 111"/>
                    <a:gd name="T11" fmla="*/ 237 h 249"/>
                    <a:gd name="T12" fmla="*/ 66 w 111"/>
                    <a:gd name="T13" fmla="*/ 249 h 249"/>
                    <a:gd name="T14" fmla="*/ 76 w 111"/>
                    <a:gd name="T15" fmla="*/ 232 h 249"/>
                    <a:gd name="T16" fmla="*/ 85 w 111"/>
                    <a:gd name="T17" fmla="*/ 206 h 249"/>
                    <a:gd name="T18" fmla="*/ 101 w 111"/>
                    <a:gd name="T19" fmla="*/ 178 h 249"/>
                    <a:gd name="T20" fmla="*/ 111 w 111"/>
                    <a:gd name="T21" fmla="*/ 155 h 249"/>
                    <a:gd name="T22" fmla="*/ 108 w 111"/>
                    <a:gd name="T23" fmla="*/ 113 h 249"/>
                    <a:gd name="T24" fmla="*/ 100 w 111"/>
                    <a:gd name="T25" fmla="*/ 78 h 249"/>
                    <a:gd name="T26" fmla="*/ 84 w 111"/>
                    <a:gd name="T27" fmla="*/ 85 h 249"/>
                    <a:gd name="T28" fmla="*/ 79 w 111"/>
                    <a:gd name="T29" fmla="*/ 81 h 249"/>
                    <a:gd name="T30" fmla="*/ 74 w 111"/>
                    <a:gd name="T31" fmla="*/ 82 h 249"/>
                    <a:gd name="T32" fmla="*/ 80 w 111"/>
                    <a:gd name="T33" fmla="*/ 64 h 249"/>
                    <a:gd name="T34" fmla="*/ 88 w 111"/>
                    <a:gd name="T35" fmla="*/ 60 h 249"/>
                    <a:gd name="T36" fmla="*/ 88 w 111"/>
                    <a:gd name="T37" fmla="*/ 43 h 249"/>
                    <a:gd name="T38" fmla="*/ 96 w 111"/>
                    <a:gd name="T39" fmla="*/ 34 h 249"/>
                    <a:gd name="T40" fmla="*/ 25 w 111"/>
                    <a:gd name="T41" fmla="*/ 0 h 249"/>
                    <a:gd name="T42" fmla="*/ 16 w 111"/>
                    <a:gd name="T43" fmla="*/ 10 h 249"/>
                    <a:gd name="T44" fmla="*/ 13 w 111"/>
                    <a:gd name="T45" fmla="*/ 30 h 249"/>
                    <a:gd name="T46" fmla="*/ 2 w 111"/>
                    <a:gd name="T47" fmla="*/ 42 h 249"/>
                    <a:gd name="T48" fmla="*/ 8 w 111"/>
                    <a:gd name="T49" fmla="*/ 52 h 249"/>
                    <a:gd name="T50" fmla="*/ 4 w 111"/>
                    <a:gd name="T51" fmla="*/ 65 h 249"/>
                    <a:gd name="T52" fmla="*/ 7 w 111"/>
                    <a:gd name="T53" fmla="*/ 86 h 249"/>
                    <a:gd name="T54" fmla="*/ 20 w 111"/>
                    <a:gd name="T55" fmla="*/ 100 h 249"/>
                    <a:gd name="T56" fmla="*/ 31 w 111"/>
                    <a:gd name="T57" fmla="*/ 105 h 249"/>
                    <a:gd name="T58" fmla="*/ 41 w 111"/>
                    <a:gd name="T59" fmla="*/ 113 h 249"/>
                    <a:gd name="T60" fmla="*/ 52 w 111"/>
                    <a:gd name="T61" fmla="*/ 123 h 249"/>
                    <a:gd name="T62" fmla="*/ 27 w 111"/>
                    <a:gd name="T63" fmla="*/ 143 h 249"/>
                    <a:gd name="T64" fmla="*/ 4 w 111"/>
                    <a:gd name="T65" fmla="*/ 16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 h="249">
                      <a:moveTo>
                        <a:pt x="4" y="168"/>
                      </a:moveTo>
                      <a:lnTo>
                        <a:pt x="0" y="186"/>
                      </a:lnTo>
                      <a:lnTo>
                        <a:pt x="0" y="189"/>
                      </a:lnTo>
                      <a:lnTo>
                        <a:pt x="3" y="188"/>
                      </a:lnTo>
                      <a:lnTo>
                        <a:pt x="8" y="197"/>
                      </a:lnTo>
                      <a:lnTo>
                        <a:pt x="14" y="205"/>
                      </a:lnTo>
                      <a:lnTo>
                        <a:pt x="20" y="211"/>
                      </a:lnTo>
                      <a:lnTo>
                        <a:pt x="38" y="221"/>
                      </a:lnTo>
                      <a:lnTo>
                        <a:pt x="44" y="222"/>
                      </a:lnTo>
                      <a:lnTo>
                        <a:pt x="56" y="225"/>
                      </a:lnTo>
                      <a:lnTo>
                        <a:pt x="61" y="225"/>
                      </a:lnTo>
                      <a:lnTo>
                        <a:pt x="62" y="237"/>
                      </a:lnTo>
                      <a:lnTo>
                        <a:pt x="61" y="245"/>
                      </a:lnTo>
                      <a:lnTo>
                        <a:pt x="66" y="249"/>
                      </a:lnTo>
                      <a:lnTo>
                        <a:pt x="71" y="244"/>
                      </a:lnTo>
                      <a:lnTo>
                        <a:pt x="76" y="232"/>
                      </a:lnTo>
                      <a:lnTo>
                        <a:pt x="77" y="221"/>
                      </a:lnTo>
                      <a:lnTo>
                        <a:pt x="85" y="206"/>
                      </a:lnTo>
                      <a:lnTo>
                        <a:pt x="90" y="194"/>
                      </a:lnTo>
                      <a:lnTo>
                        <a:pt x="101" y="178"/>
                      </a:lnTo>
                      <a:lnTo>
                        <a:pt x="106" y="166"/>
                      </a:lnTo>
                      <a:lnTo>
                        <a:pt x="111" y="155"/>
                      </a:lnTo>
                      <a:lnTo>
                        <a:pt x="111" y="147"/>
                      </a:lnTo>
                      <a:lnTo>
                        <a:pt x="108" y="113"/>
                      </a:lnTo>
                      <a:lnTo>
                        <a:pt x="105" y="86"/>
                      </a:lnTo>
                      <a:lnTo>
                        <a:pt x="100" y="78"/>
                      </a:lnTo>
                      <a:lnTo>
                        <a:pt x="88" y="81"/>
                      </a:lnTo>
                      <a:lnTo>
                        <a:pt x="84" y="85"/>
                      </a:lnTo>
                      <a:lnTo>
                        <a:pt x="80" y="83"/>
                      </a:lnTo>
                      <a:lnTo>
                        <a:pt x="79" y="81"/>
                      </a:lnTo>
                      <a:lnTo>
                        <a:pt x="76" y="83"/>
                      </a:lnTo>
                      <a:lnTo>
                        <a:pt x="74" y="82"/>
                      </a:lnTo>
                      <a:lnTo>
                        <a:pt x="74" y="76"/>
                      </a:lnTo>
                      <a:lnTo>
                        <a:pt x="80" y="64"/>
                      </a:lnTo>
                      <a:lnTo>
                        <a:pt x="83" y="61"/>
                      </a:lnTo>
                      <a:lnTo>
                        <a:pt x="88" y="60"/>
                      </a:lnTo>
                      <a:lnTo>
                        <a:pt x="87" y="49"/>
                      </a:lnTo>
                      <a:lnTo>
                        <a:pt x="88" y="43"/>
                      </a:lnTo>
                      <a:lnTo>
                        <a:pt x="92" y="39"/>
                      </a:lnTo>
                      <a:lnTo>
                        <a:pt x="96" y="34"/>
                      </a:lnTo>
                      <a:lnTo>
                        <a:pt x="92" y="23"/>
                      </a:lnTo>
                      <a:lnTo>
                        <a:pt x="25" y="0"/>
                      </a:lnTo>
                      <a:lnTo>
                        <a:pt x="21" y="1"/>
                      </a:lnTo>
                      <a:lnTo>
                        <a:pt x="16" y="10"/>
                      </a:lnTo>
                      <a:lnTo>
                        <a:pt x="16" y="15"/>
                      </a:lnTo>
                      <a:lnTo>
                        <a:pt x="13" y="30"/>
                      </a:lnTo>
                      <a:lnTo>
                        <a:pt x="4" y="39"/>
                      </a:lnTo>
                      <a:lnTo>
                        <a:pt x="2" y="42"/>
                      </a:lnTo>
                      <a:lnTo>
                        <a:pt x="2" y="45"/>
                      </a:lnTo>
                      <a:lnTo>
                        <a:pt x="8" y="52"/>
                      </a:lnTo>
                      <a:lnTo>
                        <a:pt x="9" y="62"/>
                      </a:lnTo>
                      <a:lnTo>
                        <a:pt x="4" y="65"/>
                      </a:lnTo>
                      <a:lnTo>
                        <a:pt x="5" y="85"/>
                      </a:lnTo>
                      <a:lnTo>
                        <a:pt x="7" y="86"/>
                      </a:lnTo>
                      <a:lnTo>
                        <a:pt x="16" y="88"/>
                      </a:lnTo>
                      <a:lnTo>
                        <a:pt x="20" y="100"/>
                      </a:lnTo>
                      <a:lnTo>
                        <a:pt x="28" y="102"/>
                      </a:lnTo>
                      <a:lnTo>
                        <a:pt x="31" y="105"/>
                      </a:lnTo>
                      <a:lnTo>
                        <a:pt x="37" y="108"/>
                      </a:lnTo>
                      <a:lnTo>
                        <a:pt x="41" y="113"/>
                      </a:lnTo>
                      <a:lnTo>
                        <a:pt x="52" y="121"/>
                      </a:lnTo>
                      <a:lnTo>
                        <a:pt x="52" y="123"/>
                      </a:lnTo>
                      <a:lnTo>
                        <a:pt x="40" y="130"/>
                      </a:lnTo>
                      <a:lnTo>
                        <a:pt x="27" y="143"/>
                      </a:lnTo>
                      <a:lnTo>
                        <a:pt x="24" y="154"/>
                      </a:lnTo>
                      <a:lnTo>
                        <a:pt x="4" y="168"/>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0" name="Freeform 55">
                  <a:extLst>
                    <a:ext uri="{FF2B5EF4-FFF2-40B4-BE49-F238E27FC236}">
                      <a16:creationId xmlns:a16="http://schemas.microsoft.com/office/drawing/2014/main" id="{54117E0F-7E24-4107-9570-3D0824B33765}"/>
                    </a:ext>
                  </a:extLst>
                </p:cNvPr>
                <p:cNvSpPr>
                  <a:spLocks/>
                </p:cNvSpPr>
                <p:nvPr/>
              </p:nvSpPr>
              <p:spPr bwMode="auto">
                <a:xfrm>
                  <a:off x="4927" y="1385"/>
                  <a:ext cx="562" cy="431"/>
                </a:xfrm>
                <a:custGeom>
                  <a:avLst/>
                  <a:gdLst>
                    <a:gd name="T0" fmla="*/ 469 w 613"/>
                    <a:gd name="T1" fmla="*/ 421 h 470"/>
                    <a:gd name="T2" fmla="*/ 460 w 613"/>
                    <a:gd name="T3" fmla="*/ 436 h 470"/>
                    <a:gd name="T4" fmla="*/ 453 w 613"/>
                    <a:gd name="T5" fmla="*/ 451 h 470"/>
                    <a:gd name="T6" fmla="*/ 449 w 613"/>
                    <a:gd name="T7" fmla="*/ 470 h 470"/>
                    <a:gd name="T8" fmla="*/ 464 w 613"/>
                    <a:gd name="T9" fmla="*/ 454 h 470"/>
                    <a:gd name="T10" fmla="*/ 489 w 613"/>
                    <a:gd name="T11" fmla="*/ 451 h 470"/>
                    <a:gd name="T12" fmla="*/ 522 w 613"/>
                    <a:gd name="T13" fmla="*/ 438 h 470"/>
                    <a:gd name="T14" fmla="*/ 577 w 613"/>
                    <a:gd name="T15" fmla="*/ 398 h 470"/>
                    <a:gd name="T16" fmla="*/ 596 w 613"/>
                    <a:gd name="T17" fmla="*/ 384 h 470"/>
                    <a:gd name="T18" fmla="*/ 613 w 613"/>
                    <a:gd name="T19" fmla="*/ 367 h 470"/>
                    <a:gd name="T20" fmla="*/ 604 w 613"/>
                    <a:gd name="T21" fmla="*/ 371 h 470"/>
                    <a:gd name="T22" fmla="*/ 581 w 613"/>
                    <a:gd name="T23" fmla="*/ 382 h 470"/>
                    <a:gd name="T24" fmla="*/ 567 w 613"/>
                    <a:gd name="T25" fmla="*/ 390 h 470"/>
                    <a:gd name="T26" fmla="*/ 584 w 613"/>
                    <a:gd name="T27" fmla="*/ 364 h 470"/>
                    <a:gd name="T28" fmla="*/ 571 w 613"/>
                    <a:gd name="T29" fmla="*/ 375 h 470"/>
                    <a:gd name="T30" fmla="*/ 518 w 613"/>
                    <a:gd name="T31" fmla="*/ 405 h 470"/>
                    <a:gd name="T32" fmla="*/ 481 w 613"/>
                    <a:gd name="T33" fmla="*/ 431 h 470"/>
                    <a:gd name="T34" fmla="*/ 477 w 613"/>
                    <a:gd name="T35" fmla="*/ 410 h 470"/>
                    <a:gd name="T36" fmla="*/ 489 w 613"/>
                    <a:gd name="T37" fmla="*/ 383 h 470"/>
                    <a:gd name="T38" fmla="*/ 474 w 613"/>
                    <a:gd name="T39" fmla="*/ 296 h 470"/>
                    <a:gd name="T40" fmla="*/ 464 w 613"/>
                    <a:gd name="T41" fmla="*/ 207 h 470"/>
                    <a:gd name="T42" fmla="*/ 453 w 613"/>
                    <a:gd name="T43" fmla="*/ 151 h 470"/>
                    <a:gd name="T44" fmla="*/ 442 w 613"/>
                    <a:gd name="T45" fmla="*/ 141 h 470"/>
                    <a:gd name="T46" fmla="*/ 439 w 613"/>
                    <a:gd name="T47" fmla="*/ 124 h 470"/>
                    <a:gd name="T48" fmla="*/ 430 w 613"/>
                    <a:gd name="T49" fmla="*/ 74 h 470"/>
                    <a:gd name="T50" fmla="*/ 414 w 613"/>
                    <a:gd name="T51" fmla="*/ 19 h 470"/>
                    <a:gd name="T52" fmla="*/ 407 w 613"/>
                    <a:gd name="T53" fmla="*/ 0 h 470"/>
                    <a:gd name="T54" fmla="*/ 305 w 613"/>
                    <a:gd name="T55" fmla="*/ 23 h 470"/>
                    <a:gd name="T56" fmla="*/ 252 w 613"/>
                    <a:gd name="T57" fmla="*/ 83 h 470"/>
                    <a:gd name="T58" fmla="*/ 246 w 613"/>
                    <a:gd name="T59" fmla="*/ 106 h 470"/>
                    <a:gd name="T60" fmla="*/ 215 w 613"/>
                    <a:gd name="T61" fmla="*/ 139 h 470"/>
                    <a:gd name="T62" fmla="*/ 227 w 613"/>
                    <a:gd name="T63" fmla="*/ 150 h 470"/>
                    <a:gd name="T64" fmla="*/ 228 w 613"/>
                    <a:gd name="T65" fmla="*/ 163 h 470"/>
                    <a:gd name="T66" fmla="*/ 234 w 613"/>
                    <a:gd name="T67" fmla="*/ 195 h 470"/>
                    <a:gd name="T68" fmla="*/ 180 w 613"/>
                    <a:gd name="T69" fmla="*/ 231 h 470"/>
                    <a:gd name="T70" fmla="*/ 116 w 613"/>
                    <a:gd name="T71" fmla="*/ 235 h 470"/>
                    <a:gd name="T72" fmla="*/ 52 w 613"/>
                    <a:gd name="T73" fmla="*/ 250 h 470"/>
                    <a:gd name="T74" fmla="*/ 38 w 613"/>
                    <a:gd name="T75" fmla="*/ 278 h 470"/>
                    <a:gd name="T76" fmla="*/ 57 w 613"/>
                    <a:gd name="T77" fmla="*/ 305 h 470"/>
                    <a:gd name="T78" fmla="*/ 44 w 613"/>
                    <a:gd name="T79" fmla="*/ 330 h 470"/>
                    <a:gd name="T80" fmla="*/ 6 w 613"/>
                    <a:gd name="T81" fmla="*/ 397 h 470"/>
                    <a:gd name="T82" fmla="*/ 343 w 613"/>
                    <a:gd name="T83" fmla="*/ 341 h 470"/>
                    <a:gd name="T84" fmla="*/ 351 w 613"/>
                    <a:gd name="T85" fmla="*/ 346 h 470"/>
                    <a:gd name="T86" fmla="*/ 369 w 613"/>
                    <a:gd name="T87" fmla="*/ 374 h 470"/>
                    <a:gd name="T88" fmla="*/ 392 w 613"/>
                    <a:gd name="T89" fmla="*/ 381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3" h="470">
                      <a:moveTo>
                        <a:pt x="398" y="387"/>
                      </a:moveTo>
                      <a:lnTo>
                        <a:pt x="465" y="410"/>
                      </a:lnTo>
                      <a:lnTo>
                        <a:pt x="469" y="421"/>
                      </a:lnTo>
                      <a:lnTo>
                        <a:pt x="465" y="426"/>
                      </a:lnTo>
                      <a:lnTo>
                        <a:pt x="461" y="430"/>
                      </a:lnTo>
                      <a:lnTo>
                        <a:pt x="460" y="436"/>
                      </a:lnTo>
                      <a:lnTo>
                        <a:pt x="461" y="447"/>
                      </a:lnTo>
                      <a:lnTo>
                        <a:pt x="456" y="448"/>
                      </a:lnTo>
                      <a:lnTo>
                        <a:pt x="453" y="451"/>
                      </a:lnTo>
                      <a:lnTo>
                        <a:pt x="447" y="463"/>
                      </a:lnTo>
                      <a:lnTo>
                        <a:pt x="447" y="469"/>
                      </a:lnTo>
                      <a:lnTo>
                        <a:pt x="449" y="470"/>
                      </a:lnTo>
                      <a:lnTo>
                        <a:pt x="452" y="468"/>
                      </a:lnTo>
                      <a:lnTo>
                        <a:pt x="453" y="463"/>
                      </a:lnTo>
                      <a:lnTo>
                        <a:pt x="464" y="454"/>
                      </a:lnTo>
                      <a:lnTo>
                        <a:pt x="470" y="455"/>
                      </a:lnTo>
                      <a:lnTo>
                        <a:pt x="485" y="455"/>
                      </a:lnTo>
                      <a:lnTo>
                        <a:pt x="489" y="451"/>
                      </a:lnTo>
                      <a:lnTo>
                        <a:pt x="503" y="447"/>
                      </a:lnTo>
                      <a:lnTo>
                        <a:pt x="514" y="442"/>
                      </a:lnTo>
                      <a:lnTo>
                        <a:pt x="522" y="438"/>
                      </a:lnTo>
                      <a:lnTo>
                        <a:pt x="531" y="429"/>
                      </a:lnTo>
                      <a:lnTo>
                        <a:pt x="568" y="404"/>
                      </a:lnTo>
                      <a:lnTo>
                        <a:pt x="577" y="398"/>
                      </a:lnTo>
                      <a:lnTo>
                        <a:pt x="585" y="391"/>
                      </a:lnTo>
                      <a:lnTo>
                        <a:pt x="592" y="389"/>
                      </a:lnTo>
                      <a:lnTo>
                        <a:pt x="596" y="384"/>
                      </a:lnTo>
                      <a:lnTo>
                        <a:pt x="604" y="379"/>
                      </a:lnTo>
                      <a:lnTo>
                        <a:pt x="609" y="376"/>
                      </a:lnTo>
                      <a:lnTo>
                        <a:pt x="613" y="367"/>
                      </a:lnTo>
                      <a:lnTo>
                        <a:pt x="613" y="364"/>
                      </a:lnTo>
                      <a:lnTo>
                        <a:pt x="612" y="363"/>
                      </a:lnTo>
                      <a:lnTo>
                        <a:pt x="604" y="371"/>
                      </a:lnTo>
                      <a:lnTo>
                        <a:pt x="596" y="373"/>
                      </a:lnTo>
                      <a:lnTo>
                        <a:pt x="586" y="377"/>
                      </a:lnTo>
                      <a:lnTo>
                        <a:pt x="581" y="382"/>
                      </a:lnTo>
                      <a:lnTo>
                        <a:pt x="577" y="388"/>
                      </a:lnTo>
                      <a:lnTo>
                        <a:pt x="569" y="392"/>
                      </a:lnTo>
                      <a:lnTo>
                        <a:pt x="567" y="390"/>
                      </a:lnTo>
                      <a:lnTo>
                        <a:pt x="570" y="383"/>
                      </a:lnTo>
                      <a:lnTo>
                        <a:pt x="577" y="376"/>
                      </a:lnTo>
                      <a:lnTo>
                        <a:pt x="584" y="364"/>
                      </a:lnTo>
                      <a:lnTo>
                        <a:pt x="581" y="362"/>
                      </a:lnTo>
                      <a:lnTo>
                        <a:pt x="575" y="368"/>
                      </a:lnTo>
                      <a:lnTo>
                        <a:pt x="571" y="375"/>
                      </a:lnTo>
                      <a:lnTo>
                        <a:pt x="565" y="380"/>
                      </a:lnTo>
                      <a:lnTo>
                        <a:pt x="545" y="391"/>
                      </a:lnTo>
                      <a:lnTo>
                        <a:pt x="518" y="405"/>
                      </a:lnTo>
                      <a:lnTo>
                        <a:pt x="497" y="415"/>
                      </a:lnTo>
                      <a:lnTo>
                        <a:pt x="489" y="419"/>
                      </a:lnTo>
                      <a:lnTo>
                        <a:pt x="481" y="431"/>
                      </a:lnTo>
                      <a:lnTo>
                        <a:pt x="476" y="427"/>
                      </a:lnTo>
                      <a:lnTo>
                        <a:pt x="474" y="419"/>
                      </a:lnTo>
                      <a:lnTo>
                        <a:pt x="477" y="410"/>
                      </a:lnTo>
                      <a:lnTo>
                        <a:pt x="485" y="404"/>
                      </a:lnTo>
                      <a:lnTo>
                        <a:pt x="477" y="396"/>
                      </a:lnTo>
                      <a:lnTo>
                        <a:pt x="489" y="383"/>
                      </a:lnTo>
                      <a:lnTo>
                        <a:pt x="489" y="378"/>
                      </a:lnTo>
                      <a:lnTo>
                        <a:pt x="484" y="371"/>
                      </a:lnTo>
                      <a:lnTo>
                        <a:pt x="474" y="296"/>
                      </a:lnTo>
                      <a:lnTo>
                        <a:pt x="471" y="294"/>
                      </a:lnTo>
                      <a:lnTo>
                        <a:pt x="472" y="223"/>
                      </a:lnTo>
                      <a:lnTo>
                        <a:pt x="464" y="207"/>
                      </a:lnTo>
                      <a:lnTo>
                        <a:pt x="458" y="190"/>
                      </a:lnTo>
                      <a:lnTo>
                        <a:pt x="458" y="175"/>
                      </a:lnTo>
                      <a:lnTo>
                        <a:pt x="453" y="151"/>
                      </a:lnTo>
                      <a:lnTo>
                        <a:pt x="445" y="138"/>
                      </a:lnTo>
                      <a:lnTo>
                        <a:pt x="441" y="138"/>
                      </a:lnTo>
                      <a:lnTo>
                        <a:pt x="442" y="141"/>
                      </a:lnTo>
                      <a:lnTo>
                        <a:pt x="440" y="142"/>
                      </a:lnTo>
                      <a:lnTo>
                        <a:pt x="437" y="138"/>
                      </a:lnTo>
                      <a:lnTo>
                        <a:pt x="439" y="124"/>
                      </a:lnTo>
                      <a:lnTo>
                        <a:pt x="426" y="95"/>
                      </a:lnTo>
                      <a:lnTo>
                        <a:pt x="425" y="84"/>
                      </a:lnTo>
                      <a:lnTo>
                        <a:pt x="430" y="74"/>
                      </a:lnTo>
                      <a:lnTo>
                        <a:pt x="426" y="52"/>
                      </a:lnTo>
                      <a:lnTo>
                        <a:pt x="415" y="23"/>
                      </a:lnTo>
                      <a:lnTo>
                        <a:pt x="414" y="19"/>
                      </a:lnTo>
                      <a:lnTo>
                        <a:pt x="410" y="15"/>
                      </a:lnTo>
                      <a:lnTo>
                        <a:pt x="413" y="10"/>
                      </a:lnTo>
                      <a:lnTo>
                        <a:pt x="407" y="0"/>
                      </a:lnTo>
                      <a:lnTo>
                        <a:pt x="311" y="24"/>
                      </a:lnTo>
                      <a:lnTo>
                        <a:pt x="309" y="21"/>
                      </a:lnTo>
                      <a:lnTo>
                        <a:pt x="305" y="23"/>
                      </a:lnTo>
                      <a:lnTo>
                        <a:pt x="298" y="27"/>
                      </a:lnTo>
                      <a:lnTo>
                        <a:pt x="275" y="51"/>
                      </a:lnTo>
                      <a:lnTo>
                        <a:pt x="252" y="83"/>
                      </a:lnTo>
                      <a:lnTo>
                        <a:pt x="248" y="88"/>
                      </a:lnTo>
                      <a:lnTo>
                        <a:pt x="250" y="93"/>
                      </a:lnTo>
                      <a:lnTo>
                        <a:pt x="246" y="106"/>
                      </a:lnTo>
                      <a:lnTo>
                        <a:pt x="241" y="111"/>
                      </a:lnTo>
                      <a:lnTo>
                        <a:pt x="217" y="135"/>
                      </a:lnTo>
                      <a:lnTo>
                        <a:pt x="215" y="139"/>
                      </a:lnTo>
                      <a:lnTo>
                        <a:pt x="218" y="149"/>
                      </a:lnTo>
                      <a:lnTo>
                        <a:pt x="221" y="151"/>
                      </a:lnTo>
                      <a:lnTo>
                        <a:pt x="227" y="150"/>
                      </a:lnTo>
                      <a:lnTo>
                        <a:pt x="232" y="153"/>
                      </a:lnTo>
                      <a:lnTo>
                        <a:pt x="233" y="158"/>
                      </a:lnTo>
                      <a:lnTo>
                        <a:pt x="228" y="163"/>
                      </a:lnTo>
                      <a:lnTo>
                        <a:pt x="230" y="171"/>
                      </a:lnTo>
                      <a:lnTo>
                        <a:pt x="236" y="180"/>
                      </a:lnTo>
                      <a:lnTo>
                        <a:pt x="234" y="195"/>
                      </a:lnTo>
                      <a:lnTo>
                        <a:pt x="219" y="201"/>
                      </a:lnTo>
                      <a:lnTo>
                        <a:pt x="197" y="225"/>
                      </a:lnTo>
                      <a:lnTo>
                        <a:pt x="180" y="231"/>
                      </a:lnTo>
                      <a:lnTo>
                        <a:pt x="140" y="242"/>
                      </a:lnTo>
                      <a:lnTo>
                        <a:pt x="128" y="237"/>
                      </a:lnTo>
                      <a:lnTo>
                        <a:pt x="116" y="235"/>
                      </a:lnTo>
                      <a:lnTo>
                        <a:pt x="96" y="237"/>
                      </a:lnTo>
                      <a:lnTo>
                        <a:pt x="75" y="241"/>
                      </a:lnTo>
                      <a:lnTo>
                        <a:pt x="52" y="250"/>
                      </a:lnTo>
                      <a:lnTo>
                        <a:pt x="42" y="257"/>
                      </a:lnTo>
                      <a:lnTo>
                        <a:pt x="38" y="269"/>
                      </a:lnTo>
                      <a:lnTo>
                        <a:pt x="38" y="278"/>
                      </a:lnTo>
                      <a:lnTo>
                        <a:pt x="53" y="295"/>
                      </a:lnTo>
                      <a:lnTo>
                        <a:pt x="56" y="297"/>
                      </a:lnTo>
                      <a:lnTo>
                        <a:pt x="57" y="305"/>
                      </a:lnTo>
                      <a:lnTo>
                        <a:pt x="55" y="311"/>
                      </a:lnTo>
                      <a:lnTo>
                        <a:pt x="49" y="315"/>
                      </a:lnTo>
                      <a:lnTo>
                        <a:pt x="44" y="330"/>
                      </a:lnTo>
                      <a:lnTo>
                        <a:pt x="12" y="362"/>
                      </a:lnTo>
                      <a:lnTo>
                        <a:pt x="0" y="371"/>
                      </a:lnTo>
                      <a:lnTo>
                        <a:pt x="6" y="397"/>
                      </a:lnTo>
                      <a:lnTo>
                        <a:pt x="335" y="331"/>
                      </a:lnTo>
                      <a:lnTo>
                        <a:pt x="341" y="335"/>
                      </a:lnTo>
                      <a:lnTo>
                        <a:pt x="343" y="341"/>
                      </a:lnTo>
                      <a:lnTo>
                        <a:pt x="345" y="343"/>
                      </a:lnTo>
                      <a:lnTo>
                        <a:pt x="348" y="343"/>
                      </a:lnTo>
                      <a:lnTo>
                        <a:pt x="351" y="346"/>
                      </a:lnTo>
                      <a:lnTo>
                        <a:pt x="356" y="347"/>
                      </a:lnTo>
                      <a:lnTo>
                        <a:pt x="366" y="367"/>
                      </a:lnTo>
                      <a:lnTo>
                        <a:pt x="369" y="374"/>
                      </a:lnTo>
                      <a:lnTo>
                        <a:pt x="372" y="377"/>
                      </a:lnTo>
                      <a:lnTo>
                        <a:pt x="373" y="379"/>
                      </a:lnTo>
                      <a:lnTo>
                        <a:pt x="392" y="381"/>
                      </a:lnTo>
                      <a:lnTo>
                        <a:pt x="398" y="387"/>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1" name="Freeform 56">
                  <a:extLst>
                    <a:ext uri="{FF2B5EF4-FFF2-40B4-BE49-F238E27FC236}">
                      <a16:creationId xmlns:a16="http://schemas.microsoft.com/office/drawing/2014/main" id="{361AE06A-C4B1-4AB4-8171-E64B1CD1E4A1}"/>
                    </a:ext>
                  </a:extLst>
                </p:cNvPr>
                <p:cNvSpPr>
                  <a:spLocks/>
                </p:cNvSpPr>
                <p:nvPr/>
              </p:nvSpPr>
              <p:spPr bwMode="auto">
                <a:xfrm>
                  <a:off x="5362" y="1630"/>
                  <a:ext cx="127" cy="126"/>
                </a:xfrm>
                <a:custGeom>
                  <a:avLst/>
                  <a:gdLst>
                    <a:gd name="T0" fmla="*/ 0 w 139"/>
                    <a:gd name="T1" fmla="*/ 29 h 137"/>
                    <a:gd name="T2" fmla="*/ 47 w 139"/>
                    <a:gd name="T3" fmla="*/ 18 h 137"/>
                    <a:gd name="T4" fmla="*/ 51 w 139"/>
                    <a:gd name="T5" fmla="*/ 23 h 137"/>
                    <a:gd name="T6" fmla="*/ 53 w 139"/>
                    <a:gd name="T7" fmla="*/ 22 h 137"/>
                    <a:gd name="T8" fmla="*/ 54 w 139"/>
                    <a:gd name="T9" fmla="*/ 18 h 137"/>
                    <a:gd name="T10" fmla="*/ 123 w 139"/>
                    <a:gd name="T11" fmla="*/ 0 h 137"/>
                    <a:gd name="T12" fmla="*/ 139 w 139"/>
                    <a:gd name="T13" fmla="*/ 57 h 137"/>
                    <a:gd name="T14" fmla="*/ 137 w 139"/>
                    <a:gd name="T15" fmla="*/ 63 h 137"/>
                    <a:gd name="T16" fmla="*/ 135 w 139"/>
                    <a:gd name="T17" fmla="*/ 66 h 137"/>
                    <a:gd name="T18" fmla="*/ 136 w 139"/>
                    <a:gd name="T19" fmla="*/ 68 h 137"/>
                    <a:gd name="T20" fmla="*/ 137 w 139"/>
                    <a:gd name="T21" fmla="*/ 71 h 137"/>
                    <a:gd name="T22" fmla="*/ 128 w 139"/>
                    <a:gd name="T23" fmla="*/ 72 h 137"/>
                    <a:gd name="T24" fmla="*/ 105 w 139"/>
                    <a:gd name="T25" fmla="*/ 82 h 137"/>
                    <a:gd name="T26" fmla="*/ 99 w 139"/>
                    <a:gd name="T27" fmla="*/ 81 h 137"/>
                    <a:gd name="T28" fmla="*/ 96 w 139"/>
                    <a:gd name="T29" fmla="*/ 84 h 137"/>
                    <a:gd name="T30" fmla="*/ 96 w 139"/>
                    <a:gd name="T31" fmla="*/ 88 h 137"/>
                    <a:gd name="T32" fmla="*/ 94 w 139"/>
                    <a:gd name="T33" fmla="*/ 88 h 137"/>
                    <a:gd name="T34" fmla="*/ 80 w 139"/>
                    <a:gd name="T35" fmla="*/ 91 h 137"/>
                    <a:gd name="T36" fmla="*/ 61 w 139"/>
                    <a:gd name="T37" fmla="*/ 100 h 137"/>
                    <a:gd name="T38" fmla="*/ 59 w 139"/>
                    <a:gd name="T39" fmla="*/ 96 h 137"/>
                    <a:gd name="T40" fmla="*/ 47 w 139"/>
                    <a:gd name="T41" fmla="*/ 109 h 137"/>
                    <a:gd name="T42" fmla="*/ 21 w 139"/>
                    <a:gd name="T43" fmla="*/ 132 h 137"/>
                    <a:gd name="T44" fmla="*/ 11 w 139"/>
                    <a:gd name="T45" fmla="*/ 137 h 137"/>
                    <a:gd name="T46" fmla="*/ 3 w 139"/>
                    <a:gd name="T47" fmla="*/ 129 h 137"/>
                    <a:gd name="T48" fmla="*/ 15 w 139"/>
                    <a:gd name="T49" fmla="*/ 116 h 137"/>
                    <a:gd name="T50" fmla="*/ 15 w 139"/>
                    <a:gd name="T51" fmla="*/ 111 h 137"/>
                    <a:gd name="T52" fmla="*/ 10 w 139"/>
                    <a:gd name="T53" fmla="*/ 104 h 137"/>
                    <a:gd name="T54" fmla="*/ 0 w 139"/>
                    <a:gd name="T55" fmla="*/ 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137">
                      <a:moveTo>
                        <a:pt x="0" y="29"/>
                      </a:moveTo>
                      <a:lnTo>
                        <a:pt x="47" y="18"/>
                      </a:lnTo>
                      <a:lnTo>
                        <a:pt x="51" y="23"/>
                      </a:lnTo>
                      <a:lnTo>
                        <a:pt x="53" y="22"/>
                      </a:lnTo>
                      <a:lnTo>
                        <a:pt x="54" y="18"/>
                      </a:lnTo>
                      <a:lnTo>
                        <a:pt x="123" y="0"/>
                      </a:lnTo>
                      <a:lnTo>
                        <a:pt x="139" y="57"/>
                      </a:lnTo>
                      <a:lnTo>
                        <a:pt x="137" y="63"/>
                      </a:lnTo>
                      <a:lnTo>
                        <a:pt x="135" y="66"/>
                      </a:lnTo>
                      <a:lnTo>
                        <a:pt x="136" y="68"/>
                      </a:lnTo>
                      <a:lnTo>
                        <a:pt x="137" y="71"/>
                      </a:lnTo>
                      <a:lnTo>
                        <a:pt x="128" y="72"/>
                      </a:lnTo>
                      <a:lnTo>
                        <a:pt x="105" y="82"/>
                      </a:lnTo>
                      <a:lnTo>
                        <a:pt x="99" y="81"/>
                      </a:lnTo>
                      <a:lnTo>
                        <a:pt x="96" y="84"/>
                      </a:lnTo>
                      <a:lnTo>
                        <a:pt x="96" y="88"/>
                      </a:lnTo>
                      <a:lnTo>
                        <a:pt x="94" y="88"/>
                      </a:lnTo>
                      <a:lnTo>
                        <a:pt x="80" y="91"/>
                      </a:lnTo>
                      <a:lnTo>
                        <a:pt x="61" y="100"/>
                      </a:lnTo>
                      <a:lnTo>
                        <a:pt x="59" y="96"/>
                      </a:lnTo>
                      <a:lnTo>
                        <a:pt x="47" y="109"/>
                      </a:lnTo>
                      <a:lnTo>
                        <a:pt x="21" y="132"/>
                      </a:lnTo>
                      <a:lnTo>
                        <a:pt x="11" y="137"/>
                      </a:lnTo>
                      <a:lnTo>
                        <a:pt x="3" y="129"/>
                      </a:lnTo>
                      <a:lnTo>
                        <a:pt x="15" y="116"/>
                      </a:lnTo>
                      <a:lnTo>
                        <a:pt x="15" y="111"/>
                      </a:lnTo>
                      <a:lnTo>
                        <a:pt x="10" y="104"/>
                      </a:lnTo>
                      <a:lnTo>
                        <a:pt x="0" y="29"/>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2" name="Freeform 57">
                  <a:extLst>
                    <a:ext uri="{FF2B5EF4-FFF2-40B4-BE49-F238E27FC236}">
                      <a16:creationId xmlns:a16="http://schemas.microsoft.com/office/drawing/2014/main" id="{0B322DB2-68DA-4905-A6C7-4C47A6D27C92}"/>
                    </a:ext>
                  </a:extLst>
                </p:cNvPr>
                <p:cNvSpPr>
                  <a:spLocks/>
                </p:cNvSpPr>
                <p:nvPr/>
              </p:nvSpPr>
              <p:spPr bwMode="auto">
                <a:xfrm>
                  <a:off x="5475" y="1623"/>
                  <a:ext cx="64" cy="73"/>
                </a:xfrm>
                <a:custGeom>
                  <a:avLst/>
                  <a:gdLst>
                    <a:gd name="T0" fmla="*/ 0 w 71"/>
                    <a:gd name="T1" fmla="*/ 7 h 79"/>
                    <a:gd name="T2" fmla="*/ 16 w 71"/>
                    <a:gd name="T3" fmla="*/ 64 h 79"/>
                    <a:gd name="T4" fmla="*/ 14 w 71"/>
                    <a:gd name="T5" fmla="*/ 70 h 79"/>
                    <a:gd name="T6" fmla="*/ 12 w 71"/>
                    <a:gd name="T7" fmla="*/ 73 h 79"/>
                    <a:gd name="T8" fmla="*/ 13 w 71"/>
                    <a:gd name="T9" fmla="*/ 75 h 79"/>
                    <a:gd name="T10" fmla="*/ 14 w 71"/>
                    <a:gd name="T11" fmla="*/ 78 h 79"/>
                    <a:gd name="T12" fmla="*/ 18 w 71"/>
                    <a:gd name="T13" fmla="*/ 79 h 79"/>
                    <a:gd name="T14" fmla="*/ 32 w 71"/>
                    <a:gd name="T15" fmla="*/ 69 h 79"/>
                    <a:gd name="T16" fmla="*/ 41 w 71"/>
                    <a:gd name="T17" fmla="*/ 61 h 79"/>
                    <a:gd name="T18" fmla="*/ 41 w 71"/>
                    <a:gd name="T19" fmla="*/ 55 h 79"/>
                    <a:gd name="T20" fmla="*/ 39 w 71"/>
                    <a:gd name="T21" fmla="*/ 51 h 79"/>
                    <a:gd name="T22" fmla="*/ 39 w 71"/>
                    <a:gd name="T23" fmla="*/ 41 h 79"/>
                    <a:gd name="T24" fmla="*/ 45 w 71"/>
                    <a:gd name="T25" fmla="*/ 35 h 79"/>
                    <a:gd name="T26" fmla="*/ 48 w 71"/>
                    <a:gd name="T27" fmla="*/ 37 h 79"/>
                    <a:gd name="T28" fmla="*/ 48 w 71"/>
                    <a:gd name="T29" fmla="*/ 43 h 79"/>
                    <a:gd name="T30" fmla="*/ 48 w 71"/>
                    <a:gd name="T31" fmla="*/ 55 h 79"/>
                    <a:gd name="T32" fmla="*/ 50 w 71"/>
                    <a:gd name="T33" fmla="*/ 59 h 79"/>
                    <a:gd name="T34" fmla="*/ 55 w 71"/>
                    <a:gd name="T35" fmla="*/ 58 h 79"/>
                    <a:gd name="T36" fmla="*/ 55 w 71"/>
                    <a:gd name="T37" fmla="*/ 51 h 79"/>
                    <a:gd name="T38" fmla="*/ 58 w 71"/>
                    <a:gd name="T39" fmla="*/ 51 h 79"/>
                    <a:gd name="T40" fmla="*/ 63 w 71"/>
                    <a:gd name="T41" fmla="*/ 46 h 79"/>
                    <a:gd name="T42" fmla="*/ 70 w 71"/>
                    <a:gd name="T43" fmla="*/ 45 h 79"/>
                    <a:gd name="T44" fmla="*/ 71 w 71"/>
                    <a:gd name="T45" fmla="*/ 44 h 79"/>
                    <a:gd name="T46" fmla="*/ 65 w 71"/>
                    <a:gd name="T47" fmla="*/ 38 h 79"/>
                    <a:gd name="T48" fmla="*/ 64 w 71"/>
                    <a:gd name="T49" fmla="*/ 35 h 79"/>
                    <a:gd name="T50" fmla="*/ 61 w 71"/>
                    <a:gd name="T51" fmla="*/ 34 h 79"/>
                    <a:gd name="T52" fmla="*/ 60 w 71"/>
                    <a:gd name="T53" fmla="*/ 31 h 79"/>
                    <a:gd name="T54" fmla="*/ 54 w 71"/>
                    <a:gd name="T55" fmla="*/ 28 h 79"/>
                    <a:gd name="T56" fmla="*/ 54 w 71"/>
                    <a:gd name="T57" fmla="*/ 25 h 79"/>
                    <a:gd name="T58" fmla="*/ 40 w 71"/>
                    <a:gd name="T59" fmla="*/ 22 h 79"/>
                    <a:gd name="T60" fmla="*/ 36 w 71"/>
                    <a:gd name="T61" fmla="*/ 11 h 79"/>
                    <a:gd name="T62" fmla="*/ 32 w 71"/>
                    <a:gd name="T63" fmla="*/ 10 h 79"/>
                    <a:gd name="T64" fmla="*/ 28 w 71"/>
                    <a:gd name="T65" fmla="*/ 0 h 79"/>
                    <a:gd name="T66" fmla="*/ 0 w 71"/>
                    <a:gd name="T6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 h="79">
                      <a:moveTo>
                        <a:pt x="0" y="7"/>
                      </a:moveTo>
                      <a:lnTo>
                        <a:pt x="16" y="64"/>
                      </a:lnTo>
                      <a:lnTo>
                        <a:pt x="14" y="70"/>
                      </a:lnTo>
                      <a:lnTo>
                        <a:pt x="12" y="73"/>
                      </a:lnTo>
                      <a:lnTo>
                        <a:pt x="13" y="75"/>
                      </a:lnTo>
                      <a:lnTo>
                        <a:pt x="14" y="78"/>
                      </a:lnTo>
                      <a:lnTo>
                        <a:pt x="18" y="79"/>
                      </a:lnTo>
                      <a:lnTo>
                        <a:pt x="32" y="69"/>
                      </a:lnTo>
                      <a:lnTo>
                        <a:pt x="41" y="61"/>
                      </a:lnTo>
                      <a:lnTo>
                        <a:pt x="41" y="55"/>
                      </a:lnTo>
                      <a:lnTo>
                        <a:pt x="39" y="51"/>
                      </a:lnTo>
                      <a:lnTo>
                        <a:pt x="39" y="41"/>
                      </a:lnTo>
                      <a:lnTo>
                        <a:pt x="45" y="35"/>
                      </a:lnTo>
                      <a:lnTo>
                        <a:pt x="48" y="37"/>
                      </a:lnTo>
                      <a:lnTo>
                        <a:pt x="48" y="43"/>
                      </a:lnTo>
                      <a:lnTo>
                        <a:pt x="48" y="55"/>
                      </a:lnTo>
                      <a:lnTo>
                        <a:pt x="50" y="59"/>
                      </a:lnTo>
                      <a:lnTo>
                        <a:pt x="55" y="58"/>
                      </a:lnTo>
                      <a:lnTo>
                        <a:pt x="55" y="51"/>
                      </a:lnTo>
                      <a:lnTo>
                        <a:pt x="58" y="51"/>
                      </a:lnTo>
                      <a:lnTo>
                        <a:pt x="63" y="46"/>
                      </a:lnTo>
                      <a:lnTo>
                        <a:pt x="70" y="45"/>
                      </a:lnTo>
                      <a:lnTo>
                        <a:pt x="71" y="44"/>
                      </a:lnTo>
                      <a:lnTo>
                        <a:pt x="65" y="38"/>
                      </a:lnTo>
                      <a:lnTo>
                        <a:pt x="64" y="35"/>
                      </a:lnTo>
                      <a:lnTo>
                        <a:pt x="61" y="34"/>
                      </a:lnTo>
                      <a:lnTo>
                        <a:pt x="60" y="31"/>
                      </a:lnTo>
                      <a:lnTo>
                        <a:pt x="54" y="28"/>
                      </a:lnTo>
                      <a:lnTo>
                        <a:pt x="54" y="25"/>
                      </a:lnTo>
                      <a:lnTo>
                        <a:pt x="40" y="22"/>
                      </a:lnTo>
                      <a:lnTo>
                        <a:pt x="36" y="11"/>
                      </a:lnTo>
                      <a:lnTo>
                        <a:pt x="32" y="10"/>
                      </a:lnTo>
                      <a:lnTo>
                        <a:pt x="28" y="0"/>
                      </a:lnTo>
                      <a:lnTo>
                        <a:pt x="0" y="7"/>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3" name="Freeform 58">
                  <a:extLst>
                    <a:ext uri="{FF2B5EF4-FFF2-40B4-BE49-F238E27FC236}">
                      <a16:creationId xmlns:a16="http://schemas.microsoft.com/office/drawing/2014/main" id="{E11EF7CF-1B26-46DF-BCCB-1073539D1EF8}"/>
                    </a:ext>
                  </a:extLst>
                </p:cNvPr>
                <p:cNvSpPr>
                  <a:spLocks/>
                </p:cNvSpPr>
                <p:nvPr/>
              </p:nvSpPr>
              <p:spPr bwMode="auto">
                <a:xfrm>
                  <a:off x="5300" y="1354"/>
                  <a:ext cx="130" cy="235"/>
                </a:xfrm>
                <a:custGeom>
                  <a:avLst/>
                  <a:gdLst>
                    <a:gd name="T0" fmla="*/ 0 w 142"/>
                    <a:gd name="T1" fmla="*/ 33 h 256"/>
                    <a:gd name="T2" fmla="*/ 6 w 142"/>
                    <a:gd name="T3" fmla="*/ 43 h 256"/>
                    <a:gd name="T4" fmla="*/ 3 w 142"/>
                    <a:gd name="T5" fmla="*/ 48 h 256"/>
                    <a:gd name="T6" fmla="*/ 7 w 142"/>
                    <a:gd name="T7" fmla="*/ 52 h 256"/>
                    <a:gd name="T8" fmla="*/ 8 w 142"/>
                    <a:gd name="T9" fmla="*/ 56 h 256"/>
                    <a:gd name="T10" fmla="*/ 19 w 142"/>
                    <a:gd name="T11" fmla="*/ 85 h 256"/>
                    <a:gd name="T12" fmla="*/ 23 w 142"/>
                    <a:gd name="T13" fmla="*/ 107 h 256"/>
                    <a:gd name="T14" fmla="*/ 18 w 142"/>
                    <a:gd name="T15" fmla="*/ 117 h 256"/>
                    <a:gd name="T16" fmla="*/ 19 w 142"/>
                    <a:gd name="T17" fmla="*/ 128 h 256"/>
                    <a:gd name="T18" fmla="*/ 32 w 142"/>
                    <a:gd name="T19" fmla="*/ 157 h 256"/>
                    <a:gd name="T20" fmla="*/ 30 w 142"/>
                    <a:gd name="T21" fmla="*/ 171 h 256"/>
                    <a:gd name="T22" fmla="*/ 33 w 142"/>
                    <a:gd name="T23" fmla="*/ 175 h 256"/>
                    <a:gd name="T24" fmla="*/ 35 w 142"/>
                    <a:gd name="T25" fmla="*/ 174 h 256"/>
                    <a:gd name="T26" fmla="*/ 34 w 142"/>
                    <a:gd name="T27" fmla="*/ 171 h 256"/>
                    <a:gd name="T28" fmla="*/ 38 w 142"/>
                    <a:gd name="T29" fmla="*/ 171 h 256"/>
                    <a:gd name="T30" fmla="*/ 46 w 142"/>
                    <a:gd name="T31" fmla="*/ 184 h 256"/>
                    <a:gd name="T32" fmla="*/ 51 w 142"/>
                    <a:gd name="T33" fmla="*/ 208 h 256"/>
                    <a:gd name="T34" fmla="*/ 51 w 142"/>
                    <a:gd name="T35" fmla="*/ 223 h 256"/>
                    <a:gd name="T36" fmla="*/ 57 w 142"/>
                    <a:gd name="T37" fmla="*/ 240 h 256"/>
                    <a:gd name="T38" fmla="*/ 65 w 142"/>
                    <a:gd name="T39" fmla="*/ 256 h 256"/>
                    <a:gd name="T40" fmla="*/ 120 w 142"/>
                    <a:gd name="T41" fmla="*/ 244 h 256"/>
                    <a:gd name="T42" fmla="*/ 118 w 142"/>
                    <a:gd name="T43" fmla="*/ 239 h 256"/>
                    <a:gd name="T44" fmla="*/ 112 w 142"/>
                    <a:gd name="T45" fmla="*/ 232 h 256"/>
                    <a:gd name="T46" fmla="*/ 113 w 142"/>
                    <a:gd name="T47" fmla="*/ 222 h 256"/>
                    <a:gd name="T48" fmla="*/ 115 w 142"/>
                    <a:gd name="T49" fmla="*/ 219 h 256"/>
                    <a:gd name="T50" fmla="*/ 112 w 142"/>
                    <a:gd name="T51" fmla="*/ 209 h 256"/>
                    <a:gd name="T52" fmla="*/ 108 w 142"/>
                    <a:gd name="T53" fmla="*/ 168 h 256"/>
                    <a:gd name="T54" fmla="*/ 108 w 142"/>
                    <a:gd name="T55" fmla="*/ 155 h 256"/>
                    <a:gd name="T56" fmla="*/ 113 w 142"/>
                    <a:gd name="T57" fmla="*/ 130 h 256"/>
                    <a:gd name="T58" fmla="*/ 118 w 142"/>
                    <a:gd name="T59" fmla="*/ 114 h 256"/>
                    <a:gd name="T60" fmla="*/ 118 w 142"/>
                    <a:gd name="T61" fmla="*/ 103 h 256"/>
                    <a:gd name="T62" fmla="*/ 114 w 142"/>
                    <a:gd name="T63" fmla="*/ 94 h 256"/>
                    <a:gd name="T64" fmla="*/ 114 w 142"/>
                    <a:gd name="T65" fmla="*/ 84 h 256"/>
                    <a:gd name="T66" fmla="*/ 117 w 142"/>
                    <a:gd name="T67" fmla="*/ 79 h 256"/>
                    <a:gd name="T68" fmla="*/ 133 w 142"/>
                    <a:gd name="T69" fmla="*/ 65 h 256"/>
                    <a:gd name="T70" fmla="*/ 142 w 142"/>
                    <a:gd name="T71" fmla="*/ 43 h 256"/>
                    <a:gd name="T72" fmla="*/ 133 w 142"/>
                    <a:gd name="T73" fmla="*/ 30 h 256"/>
                    <a:gd name="T74" fmla="*/ 131 w 142"/>
                    <a:gd name="T75" fmla="*/ 24 h 256"/>
                    <a:gd name="T76" fmla="*/ 134 w 142"/>
                    <a:gd name="T77" fmla="*/ 20 h 256"/>
                    <a:gd name="T78" fmla="*/ 134 w 142"/>
                    <a:gd name="T79" fmla="*/ 16 h 256"/>
                    <a:gd name="T80" fmla="*/ 130 w 142"/>
                    <a:gd name="T81" fmla="*/ 0 h 256"/>
                    <a:gd name="T82" fmla="*/ 0 w 142"/>
                    <a:gd name="T83" fmla="*/ 3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256">
                      <a:moveTo>
                        <a:pt x="0" y="33"/>
                      </a:moveTo>
                      <a:lnTo>
                        <a:pt x="6" y="43"/>
                      </a:lnTo>
                      <a:lnTo>
                        <a:pt x="3" y="48"/>
                      </a:lnTo>
                      <a:lnTo>
                        <a:pt x="7" y="52"/>
                      </a:lnTo>
                      <a:lnTo>
                        <a:pt x="8" y="56"/>
                      </a:lnTo>
                      <a:lnTo>
                        <a:pt x="19" y="85"/>
                      </a:lnTo>
                      <a:lnTo>
                        <a:pt x="23" y="107"/>
                      </a:lnTo>
                      <a:lnTo>
                        <a:pt x="18" y="117"/>
                      </a:lnTo>
                      <a:lnTo>
                        <a:pt x="19" y="128"/>
                      </a:lnTo>
                      <a:lnTo>
                        <a:pt x="32" y="157"/>
                      </a:lnTo>
                      <a:lnTo>
                        <a:pt x="30" y="171"/>
                      </a:lnTo>
                      <a:lnTo>
                        <a:pt x="33" y="175"/>
                      </a:lnTo>
                      <a:lnTo>
                        <a:pt x="35" y="174"/>
                      </a:lnTo>
                      <a:lnTo>
                        <a:pt x="34" y="171"/>
                      </a:lnTo>
                      <a:lnTo>
                        <a:pt x="38" y="171"/>
                      </a:lnTo>
                      <a:lnTo>
                        <a:pt x="46" y="184"/>
                      </a:lnTo>
                      <a:lnTo>
                        <a:pt x="51" y="208"/>
                      </a:lnTo>
                      <a:lnTo>
                        <a:pt x="51" y="223"/>
                      </a:lnTo>
                      <a:lnTo>
                        <a:pt x="57" y="240"/>
                      </a:lnTo>
                      <a:lnTo>
                        <a:pt x="65" y="256"/>
                      </a:lnTo>
                      <a:lnTo>
                        <a:pt x="120" y="244"/>
                      </a:lnTo>
                      <a:lnTo>
                        <a:pt x="118" y="239"/>
                      </a:lnTo>
                      <a:lnTo>
                        <a:pt x="112" y="232"/>
                      </a:lnTo>
                      <a:lnTo>
                        <a:pt x="113" y="222"/>
                      </a:lnTo>
                      <a:lnTo>
                        <a:pt x="115" y="219"/>
                      </a:lnTo>
                      <a:lnTo>
                        <a:pt x="112" y="209"/>
                      </a:lnTo>
                      <a:lnTo>
                        <a:pt x="108" y="168"/>
                      </a:lnTo>
                      <a:lnTo>
                        <a:pt x="108" y="155"/>
                      </a:lnTo>
                      <a:lnTo>
                        <a:pt x="113" y="130"/>
                      </a:lnTo>
                      <a:lnTo>
                        <a:pt x="118" y="114"/>
                      </a:lnTo>
                      <a:lnTo>
                        <a:pt x="118" y="103"/>
                      </a:lnTo>
                      <a:lnTo>
                        <a:pt x="114" y="94"/>
                      </a:lnTo>
                      <a:lnTo>
                        <a:pt x="114" y="84"/>
                      </a:lnTo>
                      <a:lnTo>
                        <a:pt x="117" y="79"/>
                      </a:lnTo>
                      <a:lnTo>
                        <a:pt x="133" y="65"/>
                      </a:lnTo>
                      <a:lnTo>
                        <a:pt x="142" y="43"/>
                      </a:lnTo>
                      <a:lnTo>
                        <a:pt x="133" y="30"/>
                      </a:lnTo>
                      <a:lnTo>
                        <a:pt x="131" y="24"/>
                      </a:lnTo>
                      <a:lnTo>
                        <a:pt x="134" y="20"/>
                      </a:lnTo>
                      <a:lnTo>
                        <a:pt x="134" y="16"/>
                      </a:lnTo>
                      <a:lnTo>
                        <a:pt x="130" y="0"/>
                      </a:lnTo>
                      <a:lnTo>
                        <a:pt x="0" y="33"/>
                      </a:lnTo>
                      <a:close/>
                    </a:path>
                  </a:pathLst>
                </a:custGeom>
                <a:grpFill/>
                <a:ln w="6350" cmpd="sng">
                  <a:solidFill>
                    <a:srgbClr val="FFFFFF"/>
                  </a:solidFill>
                  <a:round/>
                  <a:headEnd/>
                  <a:tailEnd/>
                </a:ln>
              </p:spPr>
              <p:txBody>
                <a:bodyPr/>
                <a:lstStyle/>
                <a:p>
                  <a:pPr eaLnBrk="0" fontAlgn="base" hangingPunct="0">
                    <a:spcBef>
                      <a:spcPct val="50000"/>
                    </a:spcBef>
                    <a:spcAft>
                      <a:spcPct val="0"/>
                    </a:spcAft>
                  </a:pPr>
                  <a:endParaRPr lang="fr-FR" kern="0" dirty="0">
                    <a:solidFill>
                      <a:srgbClr val="000000"/>
                    </a:solidFill>
                    <a:latin typeface="Times New Roman" panose="02020603050405020304" pitchFamily="18" charset="0"/>
                  </a:endParaRPr>
                </a:p>
              </p:txBody>
            </p:sp>
            <p:sp>
              <p:nvSpPr>
                <p:cNvPr id="54" name="Freeform 59">
                  <a:extLst>
                    <a:ext uri="{FF2B5EF4-FFF2-40B4-BE49-F238E27FC236}">
                      <a16:creationId xmlns:a16="http://schemas.microsoft.com/office/drawing/2014/main" id="{A08FCBFD-67AB-44E2-A2DF-0000C9CF3D0C}"/>
                    </a:ext>
                  </a:extLst>
                </p:cNvPr>
                <p:cNvSpPr>
                  <a:spLocks/>
                </p:cNvSpPr>
                <p:nvPr/>
              </p:nvSpPr>
              <p:spPr bwMode="auto">
                <a:xfrm>
                  <a:off x="5400" y="1321"/>
                  <a:ext cx="119" cy="258"/>
                </a:xfrm>
                <a:custGeom>
                  <a:avLst/>
                  <a:gdLst>
                    <a:gd name="T0" fmla="*/ 129 w 130"/>
                    <a:gd name="T1" fmla="*/ 237 h 281"/>
                    <a:gd name="T2" fmla="*/ 124 w 130"/>
                    <a:gd name="T3" fmla="*/ 235 h 281"/>
                    <a:gd name="T4" fmla="*/ 118 w 130"/>
                    <a:gd name="T5" fmla="*/ 237 h 281"/>
                    <a:gd name="T6" fmla="*/ 112 w 130"/>
                    <a:gd name="T7" fmla="*/ 247 h 281"/>
                    <a:gd name="T8" fmla="*/ 105 w 130"/>
                    <a:gd name="T9" fmla="*/ 249 h 281"/>
                    <a:gd name="T10" fmla="*/ 106 w 130"/>
                    <a:gd name="T11" fmla="*/ 256 h 281"/>
                    <a:gd name="T12" fmla="*/ 105 w 130"/>
                    <a:gd name="T13" fmla="*/ 258 h 281"/>
                    <a:gd name="T14" fmla="*/ 102 w 130"/>
                    <a:gd name="T15" fmla="*/ 256 h 281"/>
                    <a:gd name="T16" fmla="*/ 100 w 130"/>
                    <a:gd name="T17" fmla="*/ 258 h 281"/>
                    <a:gd name="T18" fmla="*/ 99 w 130"/>
                    <a:gd name="T19" fmla="*/ 261 h 281"/>
                    <a:gd name="T20" fmla="*/ 12 w 130"/>
                    <a:gd name="T21" fmla="*/ 281 h 281"/>
                    <a:gd name="T22" fmla="*/ 10 w 130"/>
                    <a:gd name="T23" fmla="*/ 276 h 281"/>
                    <a:gd name="T24" fmla="*/ 4 w 130"/>
                    <a:gd name="T25" fmla="*/ 269 h 281"/>
                    <a:gd name="T26" fmla="*/ 5 w 130"/>
                    <a:gd name="T27" fmla="*/ 259 h 281"/>
                    <a:gd name="T28" fmla="*/ 7 w 130"/>
                    <a:gd name="T29" fmla="*/ 256 h 281"/>
                    <a:gd name="T30" fmla="*/ 4 w 130"/>
                    <a:gd name="T31" fmla="*/ 246 h 281"/>
                    <a:gd name="T32" fmla="*/ 0 w 130"/>
                    <a:gd name="T33" fmla="*/ 205 h 281"/>
                    <a:gd name="T34" fmla="*/ 0 w 130"/>
                    <a:gd name="T35" fmla="*/ 192 h 281"/>
                    <a:gd name="T36" fmla="*/ 5 w 130"/>
                    <a:gd name="T37" fmla="*/ 167 h 281"/>
                    <a:gd name="T38" fmla="*/ 10 w 130"/>
                    <a:gd name="T39" fmla="*/ 151 h 281"/>
                    <a:gd name="T40" fmla="*/ 10 w 130"/>
                    <a:gd name="T41" fmla="*/ 140 h 281"/>
                    <a:gd name="T42" fmla="*/ 6 w 130"/>
                    <a:gd name="T43" fmla="*/ 131 h 281"/>
                    <a:gd name="T44" fmla="*/ 6 w 130"/>
                    <a:gd name="T45" fmla="*/ 121 h 281"/>
                    <a:gd name="T46" fmla="*/ 9 w 130"/>
                    <a:gd name="T47" fmla="*/ 116 h 281"/>
                    <a:gd name="T48" fmla="*/ 25 w 130"/>
                    <a:gd name="T49" fmla="*/ 102 h 281"/>
                    <a:gd name="T50" fmla="*/ 34 w 130"/>
                    <a:gd name="T51" fmla="*/ 80 h 281"/>
                    <a:gd name="T52" fmla="*/ 25 w 130"/>
                    <a:gd name="T53" fmla="*/ 67 h 281"/>
                    <a:gd name="T54" fmla="*/ 23 w 130"/>
                    <a:gd name="T55" fmla="*/ 61 h 281"/>
                    <a:gd name="T56" fmla="*/ 26 w 130"/>
                    <a:gd name="T57" fmla="*/ 57 h 281"/>
                    <a:gd name="T58" fmla="*/ 26 w 130"/>
                    <a:gd name="T59" fmla="*/ 53 h 281"/>
                    <a:gd name="T60" fmla="*/ 22 w 130"/>
                    <a:gd name="T61" fmla="*/ 37 h 281"/>
                    <a:gd name="T62" fmla="*/ 26 w 130"/>
                    <a:gd name="T63" fmla="*/ 18 h 281"/>
                    <a:gd name="T64" fmla="*/ 21 w 130"/>
                    <a:gd name="T65" fmla="*/ 12 h 281"/>
                    <a:gd name="T66" fmla="*/ 22 w 130"/>
                    <a:gd name="T67" fmla="*/ 9 h 281"/>
                    <a:gd name="T68" fmla="*/ 28 w 130"/>
                    <a:gd name="T69" fmla="*/ 9 h 281"/>
                    <a:gd name="T70" fmla="*/ 30 w 130"/>
                    <a:gd name="T71" fmla="*/ 3 h 281"/>
                    <a:gd name="T72" fmla="*/ 35 w 130"/>
                    <a:gd name="T73" fmla="*/ 5 h 281"/>
                    <a:gd name="T74" fmla="*/ 41 w 130"/>
                    <a:gd name="T75" fmla="*/ 4 h 281"/>
                    <a:gd name="T76" fmla="*/ 45 w 130"/>
                    <a:gd name="T77" fmla="*/ 0 h 281"/>
                    <a:gd name="T78" fmla="*/ 102 w 130"/>
                    <a:gd name="T79" fmla="*/ 173 h 281"/>
                    <a:gd name="T80" fmla="*/ 103 w 130"/>
                    <a:gd name="T81" fmla="*/ 176 h 281"/>
                    <a:gd name="T82" fmla="*/ 102 w 130"/>
                    <a:gd name="T83" fmla="*/ 183 h 281"/>
                    <a:gd name="T84" fmla="*/ 103 w 130"/>
                    <a:gd name="T85" fmla="*/ 186 h 281"/>
                    <a:gd name="T86" fmla="*/ 118 w 130"/>
                    <a:gd name="T87" fmla="*/ 197 h 281"/>
                    <a:gd name="T88" fmla="*/ 121 w 130"/>
                    <a:gd name="T89" fmla="*/ 198 h 281"/>
                    <a:gd name="T90" fmla="*/ 122 w 130"/>
                    <a:gd name="T91" fmla="*/ 204 h 281"/>
                    <a:gd name="T92" fmla="*/ 122 w 130"/>
                    <a:gd name="T93" fmla="*/ 208 h 281"/>
                    <a:gd name="T94" fmla="*/ 130 w 130"/>
                    <a:gd name="T95" fmla="*/ 221 h 281"/>
                    <a:gd name="T96" fmla="*/ 129 w 130"/>
                    <a:gd name="T97" fmla="*/ 224 h 281"/>
                    <a:gd name="T98" fmla="*/ 129 w 130"/>
                    <a:gd name="T99" fmla="*/ 231 h 281"/>
                    <a:gd name="T100" fmla="*/ 129 w 130"/>
                    <a:gd name="T101" fmla="*/ 23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 h="281">
                      <a:moveTo>
                        <a:pt x="129" y="237"/>
                      </a:moveTo>
                      <a:lnTo>
                        <a:pt x="124" y="235"/>
                      </a:lnTo>
                      <a:lnTo>
                        <a:pt x="118" y="237"/>
                      </a:lnTo>
                      <a:lnTo>
                        <a:pt x="112" y="247"/>
                      </a:lnTo>
                      <a:lnTo>
                        <a:pt x="105" y="249"/>
                      </a:lnTo>
                      <a:lnTo>
                        <a:pt x="106" y="256"/>
                      </a:lnTo>
                      <a:lnTo>
                        <a:pt x="105" y="258"/>
                      </a:lnTo>
                      <a:lnTo>
                        <a:pt x="102" y="256"/>
                      </a:lnTo>
                      <a:lnTo>
                        <a:pt x="100" y="258"/>
                      </a:lnTo>
                      <a:lnTo>
                        <a:pt x="99" y="261"/>
                      </a:lnTo>
                      <a:lnTo>
                        <a:pt x="12" y="281"/>
                      </a:lnTo>
                      <a:lnTo>
                        <a:pt x="10" y="276"/>
                      </a:lnTo>
                      <a:lnTo>
                        <a:pt x="4" y="269"/>
                      </a:lnTo>
                      <a:lnTo>
                        <a:pt x="5" y="259"/>
                      </a:lnTo>
                      <a:lnTo>
                        <a:pt x="7" y="256"/>
                      </a:lnTo>
                      <a:lnTo>
                        <a:pt x="4" y="246"/>
                      </a:lnTo>
                      <a:lnTo>
                        <a:pt x="0" y="205"/>
                      </a:lnTo>
                      <a:lnTo>
                        <a:pt x="0" y="192"/>
                      </a:lnTo>
                      <a:lnTo>
                        <a:pt x="5" y="167"/>
                      </a:lnTo>
                      <a:lnTo>
                        <a:pt x="10" y="151"/>
                      </a:lnTo>
                      <a:lnTo>
                        <a:pt x="10" y="140"/>
                      </a:lnTo>
                      <a:lnTo>
                        <a:pt x="6" y="131"/>
                      </a:lnTo>
                      <a:lnTo>
                        <a:pt x="6" y="121"/>
                      </a:lnTo>
                      <a:lnTo>
                        <a:pt x="9" y="116"/>
                      </a:lnTo>
                      <a:lnTo>
                        <a:pt x="25" y="102"/>
                      </a:lnTo>
                      <a:lnTo>
                        <a:pt x="34" y="80"/>
                      </a:lnTo>
                      <a:lnTo>
                        <a:pt x="25" y="67"/>
                      </a:lnTo>
                      <a:lnTo>
                        <a:pt x="23" y="61"/>
                      </a:lnTo>
                      <a:lnTo>
                        <a:pt x="26" y="57"/>
                      </a:lnTo>
                      <a:lnTo>
                        <a:pt x="26" y="53"/>
                      </a:lnTo>
                      <a:lnTo>
                        <a:pt x="22" y="37"/>
                      </a:lnTo>
                      <a:lnTo>
                        <a:pt x="26" y="18"/>
                      </a:lnTo>
                      <a:lnTo>
                        <a:pt x="21" y="12"/>
                      </a:lnTo>
                      <a:lnTo>
                        <a:pt x="22" y="9"/>
                      </a:lnTo>
                      <a:lnTo>
                        <a:pt x="28" y="9"/>
                      </a:lnTo>
                      <a:lnTo>
                        <a:pt x="30" y="3"/>
                      </a:lnTo>
                      <a:lnTo>
                        <a:pt x="35" y="5"/>
                      </a:lnTo>
                      <a:lnTo>
                        <a:pt x="41" y="4"/>
                      </a:lnTo>
                      <a:lnTo>
                        <a:pt x="45" y="0"/>
                      </a:lnTo>
                      <a:lnTo>
                        <a:pt x="102" y="173"/>
                      </a:lnTo>
                      <a:lnTo>
                        <a:pt x="103" y="176"/>
                      </a:lnTo>
                      <a:lnTo>
                        <a:pt x="102" y="183"/>
                      </a:lnTo>
                      <a:lnTo>
                        <a:pt x="103" y="186"/>
                      </a:lnTo>
                      <a:lnTo>
                        <a:pt x="118" y="197"/>
                      </a:lnTo>
                      <a:lnTo>
                        <a:pt x="121" y="198"/>
                      </a:lnTo>
                      <a:lnTo>
                        <a:pt x="122" y="204"/>
                      </a:lnTo>
                      <a:lnTo>
                        <a:pt x="122" y="208"/>
                      </a:lnTo>
                      <a:lnTo>
                        <a:pt x="130" y="221"/>
                      </a:lnTo>
                      <a:lnTo>
                        <a:pt x="129" y="224"/>
                      </a:lnTo>
                      <a:lnTo>
                        <a:pt x="129" y="231"/>
                      </a:lnTo>
                      <a:lnTo>
                        <a:pt x="129" y="237"/>
                      </a:lnTo>
                      <a:close/>
                    </a:path>
                  </a:pathLst>
                </a:custGeom>
                <a:grp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55" name="Freeform 60">
                  <a:extLst>
                    <a:ext uri="{FF2B5EF4-FFF2-40B4-BE49-F238E27FC236}">
                      <a16:creationId xmlns:a16="http://schemas.microsoft.com/office/drawing/2014/main" id="{813095CF-C219-4A4C-8890-7B6D1A6870F8}"/>
                    </a:ext>
                  </a:extLst>
                </p:cNvPr>
                <p:cNvSpPr>
                  <a:spLocks/>
                </p:cNvSpPr>
                <p:nvPr/>
              </p:nvSpPr>
              <p:spPr bwMode="auto">
                <a:xfrm>
                  <a:off x="4880" y="1689"/>
                  <a:ext cx="437" cy="282"/>
                </a:xfrm>
                <a:custGeom>
                  <a:avLst/>
                  <a:gdLst>
                    <a:gd name="T0" fmla="*/ 119 w 476"/>
                    <a:gd name="T1" fmla="*/ 293 h 308"/>
                    <a:gd name="T2" fmla="*/ 334 w 476"/>
                    <a:gd name="T3" fmla="*/ 251 h 308"/>
                    <a:gd name="T4" fmla="*/ 402 w 476"/>
                    <a:gd name="T5" fmla="*/ 239 h 308"/>
                    <a:gd name="T6" fmla="*/ 403 w 476"/>
                    <a:gd name="T7" fmla="*/ 238 h 308"/>
                    <a:gd name="T8" fmla="*/ 405 w 476"/>
                    <a:gd name="T9" fmla="*/ 237 h 308"/>
                    <a:gd name="T10" fmla="*/ 406 w 476"/>
                    <a:gd name="T11" fmla="*/ 230 h 308"/>
                    <a:gd name="T12" fmla="*/ 413 w 476"/>
                    <a:gd name="T13" fmla="*/ 223 h 308"/>
                    <a:gd name="T14" fmla="*/ 422 w 476"/>
                    <a:gd name="T15" fmla="*/ 222 h 308"/>
                    <a:gd name="T16" fmla="*/ 428 w 476"/>
                    <a:gd name="T17" fmla="*/ 224 h 308"/>
                    <a:gd name="T18" fmla="*/ 448 w 476"/>
                    <a:gd name="T19" fmla="*/ 210 h 308"/>
                    <a:gd name="T20" fmla="*/ 451 w 476"/>
                    <a:gd name="T21" fmla="*/ 199 h 308"/>
                    <a:gd name="T22" fmla="*/ 464 w 476"/>
                    <a:gd name="T23" fmla="*/ 186 h 308"/>
                    <a:gd name="T24" fmla="*/ 476 w 476"/>
                    <a:gd name="T25" fmla="*/ 179 h 308"/>
                    <a:gd name="T26" fmla="*/ 476 w 476"/>
                    <a:gd name="T27" fmla="*/ 177 h 308"/>
                    <a:gd name="T28" fmla="*/ 465 w 476"/>
                    <a:gd name="T29" fmla="*/ 169 h 308"/>
                    <a:gd name="T30" fmla="*/ 461 w 476"/>
                    <a:gd name="T31" fmla="*/ 164 h 308"/>
                    <a:gd name="T32" fmla="*/ 455 w 476"/>
                    <a:gd name="T33" fmla="*/ 161 h 308"/>
                    <a:gd name="T34" fmla="*/ 452 w 476"/>
                    <a:gd name="T35" fmla="*/ 158 h 308"/>
                    <a:gd name="T36" fmla="*/ 444 w 476"/>
                    <a:gd name="T37" fmla="*/ 156 h 308"/>
                    <a:gd name="T38" fmla="*/ 440 w 476"/>
                    <a:gd name="T39" fmla="*/ 144 h 308"/>
                    <a:gd name="T40" fmla="*/ 431 w 476"/>
                    <a:gd name="T41" fmla="*/ 142 h 308"/>
                    <a:gd name="T42" fmla="*/ 429 w 476"/>
                    <a:gd name="T43" fmla="*/ 141 h 308"/>
                    <a:gd name="T44" fmla="*/ 428 w 476"/>
                    <a:gd name="T45" fmla="*/ 121 h 308"/>
                    <a:gd name="T46" fmla="*/ 433 w 476"/>
                    <a:gd name="T47" fmla="*/ 118 h 308"/>
                    <a:gd name="T48" fmla="*/ 432 w 476"/>
                    <a:gd name="T49" fmla="*/ 108 h 308"/>
                    <a:gd name="T50" fmla="*/ 426 w 476"/>
                    <a:gd name="T51" fmla="*/ 101 h 308"/>
                    <a:gd name="T52" fmla="*/ 426 w 476"/>
                    <a:gd name="T53" fmla="*/ 98 h 308"/>
                    <a:gd name="T54" fmla="*/ 428 w 476"/>
                    <a:gd name="T55" fmla="*/ 95 h 308"/>
                    <a:gd name="T56" fmla="*/ 437 w 476"/>
                    <a:gd name="T57" fmla="*/ 86 h 308"/>
                    <a:gd name="T58" fmla="*/ 440 w 476"/>
                    <a:gd name="T59" fmla="*/ 71 h 308"/>
                    <a:gd name="T60" fmla="*/ 440 w 476"/>
                    <a:gd name="T61" fmla="*/ 66 h 308"/>
                    <a:gd name="T62" fmla="*/ 445 w 476"/>
                    <a:gd name="T63" fmla="*/ 57 h 308"/>
                    <a:gd name="T64" fmla="*/ 449 w 476"/>
                    <a:gd name="T65" fmla="*/ 56 h 308"/>
                    <a:gd name="T66" fmla="*/ 443 w 476"/>
                    <a:gd name="T67" fmla="*/ 50 h 308"/>
                    <a:gd name="T68" fmla="*/ 424 w 476"/>
                    <a:gd name="T69" fmla="*/ 48 h 308"/>
                    <a:gd name="T70" fmla="*/ 423 w 476"/>
                    <a:gd name="T71" fmla="*/ 46 h 308"/>
                    <a:gd name="T72" fmla="*/ 420 w 476"/>
                    <a:gd name="T73" fmla="*/ 43 h 308"/>
                    <a:gd name="T74" fmla="*/ 417 w 476"/>
                    <a:gd name="T75" fmla="*/ 36 h 308"/>
                    <a:gd name="T76" fmla="*/ 407 w 476"/>
                    <a:gd name="T77" fmla="*/ 16 h 308"/>
                    <a:gd name="T78" fmla="*/ 402 w 476"/>
                    <a:gd name="T79" fmla="*/ 15 h 308"/>
                    <a:gd name="T80" fmla="*/ 399 w 476"/>
                    <a:gd name="T81" fmla="*/ 12 h 308"/>
                    <a:gd name="T82" fmla="*/ 396 w 476"/>
                    <a:gd name="T83" fmla="*/ 12 h 308"/>
                    <a:gd name="T84" fmla="*/ 394 w 476"/>
                    <a:gd name="T85" fmla="*/ 10 h 308"/>
                    <a:gd name="T86" fmla="*/ 392 w 476"/>
                    <a:gd name="T87" fmla="*/ 4 h 308"/>
                    <a:gd name="T88" fmla="*/ 386 w 476"/>
                    <a:gd name="T89" fmla="*/ 0 h 308"/>
                    <a:gd name="T90" fmla="*/ 57 w 476"/>
                    <a:gd name="T91" fmla="*/ 66 h 308"/>
                    <a:gd name="T92" fmla="*/ 51 w 476"/>
                    <a:gd name="T93" fmla="*/ 40 h 308"/>
                    <a:gd name="T94" fmla="*/ 34 w 476"/>
                    <a:gd name="T95" fmla="*/ 56 h 308"/>
                    <a:gd name="T96" fmla="*/ 31 w 476"/>
                    <a:gd name="T97" fmla="*/ 58 h 308"/>
                    <a:gd name="T98" fmla="*/ 28 w 476"/>
                    <a:gd name="T99" fmla="*/ 55 h 308"/>
                    <a:gd name="T100" fmla="*/ 25 w 476"/>
                    <a:gd name="T101" fmla="*/ 55 h 308"/>
                    <a:gd name="T102" fmla="*/ 21 w 476"/>
                    <a:gd name="T103" fmla="*/ 65 h 308"/>
                    <a:gd name="T104" fmla="*/ 7 w 476"/>
                    <a:gd name="T105" fmla="*/ 78 h 308"/>
                    <a:gd name="T106" fmla="*/ 0 w 476"/>
                    <a:gd name="T107" fmla="*/ 82 h 308"/>
                    <a:gd name="T108" fmla="*/ 24 w 476"/>
                    <a:gd name="T109" fmla="*/ 217 h 308"/>
                    <a:gd name="T110" fmla="*/ 39 w 476"/>
                    <a:gd name="T111" fmla="*/ 308 h 308"/>
                    <a:gd name="T112" fmla="*/ 119 w 476"/>
                    <a:gd name="T113" fmla="*/ 29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6" h="308">
                      <a:moveTo>
                        <a:pt x="119" y="293"/>
                      </a:moveTo>
                      <a:lnTo>
                        <a:pt x="334" y="251"/>
                      </a:lnTo>
                      <a:lnTo>
                        <a:pt x="402" y="239"/>
                      </a:lnTo>
                      <a:lnTo>
                        <a:pt x="403" y="238"/>
                      </a:lnTo>
                      <a:lnTo>
                        <a:pt x="405" y="237"/>
                      </a:lnTo>
                      <a:lnTo>
                        <a:pt x="406" y="230"/>
                      </a:lnTo>
                      <a:lnTo>
                        <a:pt x="413" y="223"/>
                      </a:lnTo>
                      <a:lnTo>
                        <a:pt x="422" y="222"/>
                      </a:lnTo>
                      <a:lnTo>
                        <a:pt x="428" y="224"/>
                      </a:lnTo>
                      <a:lnTo>
                        <a:pt x="448" y="210"/>
                      </a:lnTo>
                      <a:lnTo>
                        <a:pt x="451" y="199"/>
                      </a:lnTo>
                      <a:lnTo>
                        <a:pt x="464" y="186"/>
                      </a:lnTo>
                      <a:lnTo>
                        <a:pt x="476" y="179"/>
                      </a:lnTo>
                      <a:lnTo>
                        <a:pt x="476" y="177"/>
                      </a:lnTo>
                      <a:lnTo>
                        <a:pt x="465" y="169"/>
                      </a:lnTo>
                      <a:lnTo>
                        <a:pt x="461" y="164"/>
                      </a:lnTo>
                      <a:lnTo>
                        <a:pt x="455" y="161"/>
                      </a:lnTo>
                      <a:lnTo>
                        <a:pt x="452" y="158"/>
                      </a:lnTo>
                      <a:lnTo>
                        <a:pt x="444" y="156"/>
                      </a:lnTo>
                      <a:lnTo>
                        <a:pt x="440" y="144"/>
                      </a:lnTo>
                      <a:lnTo>
                        <a:pt x="431" y="142"/>
                      </a:lnTo>
                      <a:lnTo>
                        <a:pt x="429" y="141"/>
                      </a:lnTo>
                      <a:lnTo>
                        <a:pt x="428" y="121"/>
                      </a:lnTo>
                      <a:lnTo>
                        <a:pt x="433" y="118"/>
                      </a:lnTo>
                      <a:lnTo>
                        <a:pt x="432" y="108"/>
                      </a:lnTo>
                      <a:lnTo>
                        <a:pt x="426" y="101"/>
                      </a:lnTo>
                      <a:lnTo>
                        <a:pt x="426" y="98"/>
                      </a:lnTo>
                      <a:lnTo>
                        <a:pt x="428" y="95"/>
                      </a:lnTo>
                      <a:lnTo>
                        <a:pt x="437" y="86"/>
                      </a:lnTo>
                      <a:lnTo>
                        <a:pt x="440" y="71"/>
                      </a:lnTo>
                      <a:lnTo>
                        <a:pt x="440" y="66"/>
                      </a:lnTo>
                      <a:lnTo>
                        <a:pt x="445" y="57"/>
                      </a:lnTo>
                      <a:lnTo>
                        <a:pt x="449" y="56"/>
                      </a:lnTo>
                      <a:lnTo>
                        <a:pt x="443" y="50"/>
                      </a:lnTo>
                      <a:lnTo>
                        <a:pt x="424" y="48"/>
                      </a:lnTo>
                      <a:lnTo>
                        <a:pt x="423" y="46"/>
                      </a:lnTo>
                      <a:lnTo>
                        <a:pt x="420" y="43"/>
                      </a:lnTo>
                      <a:lnTo>
                        <a:pt x="417" y="36"/>
                      </a:lnTo>
                      <a:lnTo>
                        <a:pt x="407" y="16"/>
                      </a:lnTo>
                      <a:lnTo>
                        <a:pt x="402" y="15"/>
                      </a:lnTo>
                      <a:lnTo>
                        <a:pt x="399" y="12"/>
                      </a:lnTo>
                      <a:lnTo>
                        <a:pt x="396" y="12"/>
                      </a:lnTo>
                      <a:lnTo>
                        <a:pt x="394" y="10"/>
                      </a:lnTo>
                      <a:lnTo>
                        <a:pt x="392" y="4"/>
                      </a:lnTo>
                      <a:lnTo>
                        <a:pt x="386" y="0"/>
                      </a:lnTo>
                      <a:lnTo>
                        <a:pt x="57" y="66"/>
                      </a:lnTo>
                      <a:lnTo>
                        <a:pt x="51" y="40"/>
                      </a:lnTo>
                      <a:lnTo>
                        <a:pt x="34" y="56"/>
                      </a:lnTo>
                      <a:lnTo>
                        <a:pt x="31" y="58"/>
                      </a:lnTo>
                      <a:lnTo>
                        <a:pt x="28" y="55"/>
                      </a:lnTo>
                      <a:lnTo>
                        <a:pt x="25" y="55"/>
                      </a:lnTo>
                      <a:lnTo>
                        <a:pt x="21" y="65"/>
                      </a:lnTo>
                      <a:lnTo>
                        <a:pt x="7" y="78"/>
                      </a:lnTo>
                      <a:lnTo>
                        <a:pt x="0" y="82"/>
                      </a:lnTo>
                      <a:lnTo>
                        <a:pt x="24" y="217"/>
                      </a:lnTo>
                      <a:lnTo>
                        <a:pt x="39" y="308"/>
                      </a:lnTo>
                      <a:lnTo>
                        <a:pt x="119" y="293"/>
                      </a:lnTo>
                      <a:close/>
                    </a:path>
                  </a:pathLst>
                </a:custGeom>
                <a:solidFill>
                  <a:schemeClr val="accent3"/>
                </a:solidFill>
                <a:ln w="6350" cmpd="sng">
                  <a:solidFill>
                    <a:srgbClr val="FFFFFF"/>
                  </a:solidFill>
                  <a:round/>
                  <a:headEnd/>
                  <a:tailEnd/>
                </a:ln>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grpSp>
      </p:grpSp>
      <p:sp>
        <p:nvSpPr>
          <p:cNvPr id="3" name="Title 2">
            <a:extLst>
              <a:ext uri="{FF2B5EF4-FFF2-40B4-BE49-F238E27FC236}">
                <a16:creationId xmlns:a16="http://schemas.microsoft.com/office/drawing/2014/main" id="{7C31B922-FCD1-4880-8A44-04E5BDD484BA}"/>
              </a:ext>
            </a:extLst>
          </p:cNvPr>
          <p:cNvSpPr>
            <a:spLocks noGrp="1"/>
          </p:cNvSpPr>
          <p:nvPr>
            <p:ph type="title"/>
          </p:nvPr>
        </p:nvSpPr>
        <p:spPr>
          <a:xfrm>
            <a:off x="431799" y="423038"/>
            <a:ext cx="8448249" cy="567394"/>
          </a:xfrm>
        </p:spPr>
        <p:txBody>
          <a:bodyPr vert="horz"/>
          <a:lstStyle/>
          <a:p>
            <a:r>
              <a:rPr lang="en-US" dirty="0">
                <a:latin typeface="Verlag Bold" pitchFamily="2" charset="0"/>
                <a:ea typeface="+mj-lt"/>
                <a:cs typeface="+mj-lt"/>
              </a:rPr>
              <a:t>Virginia faces fierce competition from high-job-growth peer states across the South and Southeast</a:t>
            </a:r>
          </a:p>
        </p:txBody>
      </p:sp>
      <p:sp>
        <p:nvSpPr>
          <p:cNvPr id="96" name="Subtitle 3">
            <a:extLst>
              <a:ext uri="{FF2B5EF4-FFF2-40B4-BE49-F238E27FC236}">
                <a16:creationId xmlns:a16="http://schemas.microsoft.com/office/drawing/2014/main" id="{440A45BA-284B-4D59-AEF4-7D0A18BA9F36}"/>
              </a:ext>
            </a:extLst>
          </p:cNvPr>
          <p:cNvSpPr>
            <a:spLocks noGrp="1"/>
          </p:cNvSpPr>
          <p:nvPr>
            <p:ph type="subTitle" sz="quarter" idx="1000"/>
          </p:nvPr>
        </p:nvSpPr>
        <p:spPr/>
        <p:txBody>
          <a:bodyPr/>
          <a:lstStyle/>
          <a:p>
            <a:r>
              <a:rPr lang="en-US" dirty="0">
                <a:latin typeface="Verlag Book" pitchFamily="2" charset="0"/>
              </a:rPr>
              <a:t>Source: Moody’s Analytics, Employment Forecast (December 2022</a:t>
            </a:r>
            <a:r>
              <a:rPr lang="en-US" dirty="0"/>
              <a:t>)</a:t>
            </a:r>
          </a:p>
        </p:txBody>
      </p:sp>
      <p:sp>
        <p:nvSpPr>
          <p:cNvPr id="5" name="Slide Number Placeholder 4">
            <a:extLst>
              <a:ext uri="{FF2B5EF4-FFF2-40B4-BE49-F238E27FC236}">
                <a16:creationId xmlns:a16="http://schemas.microsoft.com/office/drawing/2014/main" id="{94CFD307-6DAB-473D-AF83-06BB85B99DE9}"/>
              </a:ext>
            </a:extLst>
          </p:cNvPr>
          <p:cNvSpPr>
            <a:spLocks noGrp="1"/>
          </p:cNvSpPr>
          <p:nvPr>
            <p:ph type="sldNum" sz="quarter" idx="4294967295"/>
          </p:nvPr>
        </p:nvSpPr>
        <p:spPr>
          <a:xfrm>
            <a:off x="8793163" y="6516688"/>
            <a:ext cx="350837" cy="174625"/>
          </a:xfrm>
        </p:spPr>
        <p:txBody>
          <a:bodyPr/>
          <a:lstStyle/>
          <a:p>
            <a:pPr marL="12700">
              <a:buFont typeface="Arial" panose="020B0604020202020204" pitchFamily="34" charset="0"/>
              <a:buNone/>
            </a:pPr>
            <a:fld id="{078C017C-E1B9-8443-B047-B08AAA027B45}" type="slidenum">
              <a:rPr lang="en-US" smtClean="0">
                <a:latin typeface="Verlag Book" pitchFamily="2" charset="0"/>
              </a:rPr>
              <a:pPr marL="12700">
                <a:buFont typeface="Arial" panose="020B0604020202020204" pitchFamily="34" charset="0"/>
                <a:buNone/>
              </a:pPr>
              <a:t>4</a:t>
            </a:fld>
            <a:endParaRPr lang="en-US" sz="900" b="1" dirty="0">
              <a:solidFill>
                <a:schemeClr val="accent1"/>
              </a:solidFill>
              <a:latin typeface="Verlag Book" pitchFamily="2" charset="0"/>
            </a:endParaRPr>
          </a:p>
        </p:txBody>
      </p:sp>
      <p:grpSp>
        <p:nvGrpSpPr>
          <p:cNvPr id="64" name="Group 61">
            <a:extLst>
              <a:ext uri="{FF2B5EF4-FFF2-40B4-BE49-F238E27FC236}">
                <a16:creationId xmlns:a16="http://schemas.microsoft.com/office/drawing/2014/main" id="{0670A40E-6A46-4601-9F63-82C3665A1A95}"/>
              </a:ext>
            </a:extLst>
          </p:cNvPr>
          <p:cNvGrpSpPr>
            <a:grpSpLocks/>
          </p:cNvGrpSpPr>
          <p:nvPr/>
        </p:nvGrpSpPr>
        <p:grpSpPr bwMode="auto">
          <a:xfrm>
            <a:off x="21983" y="3885870"/>
            <a:ext cx="1398588" cy="1981200"/>
            <a:chOff x="1248" y="2544"/>
            <a:chExt cx="813" cy="1248"/>
          </a:xfrm>
        </p:grpSpPr>
        <p:sp>
          <p:nvSpPr>
            <p:cNvPr id="65" name="Rectangle 62">
              <a:extLst>
                <a:ext uri="{FF2B5EF4-FFF2-40B4-BE49-F238E27FC236}">
                  <a16:creationId xmlns:a16="http://schemas.microsoft.com/office/drawing/2014/main" id="{D8892913-B504-493E-917D-F766CC315D2C}"/>
                </a:ext>
              </a:extLst>
            </p:cNvPr>
            <p:cNvSpPr>
              <a:spLocks noChangeArrowheads="1"/>
            </p:cNvSpPr>
            <p:nvPr/>
          </p:nvSpPr>
          <p:spPr bwMode="auto">
            <a:xfrm>
              <a:off x="1248" y="2544"/>
              <a:ext cx="813" cy="672"/>
            </a:xfrm>
            <a:prstGeom prst="rect">
              <a:avLst/>
            </a:prstGeom>
            <a:noFill/>
            <a:ln w="9525">
              <a:solidFill>
                <a:srgbClr val="F0F0F0"/>
              </a:solidFill>
              <a:miter lim="800000"/>
              <a:headEnd/>
              <a:tailEnd/>
            </a:ln>
            <a:extLst>
              <a:ext uri="{909E8E84-426E-40DD-AFC4-6F175D3DCCD1}">
                <a14:hiddenFill xmlns:a14="http://schemas.microsoft.com/office/drawing/2010/main">
                  <a:solidFill>
                    <a:srgbClr val="B6CAD2"/>
                  </a:solidFill>
                </a14:hiddenFill>
              </a:ext>
            </a:extLst>
          </p:spPr>
          <p:txBody>
            <a:bodyPr/>
            <a:lstStyle>
              <a:lvl1pPr>
                <a:spcBef>
                  <a:spcPct val="0"/>
                </a:spcBef>
                <a:tabLst>
                  <a:tab pos="952500" algn="l"/>
                </a:tabLst>
                <a:defRPr sz="2400">
                  <a:solidFill>
                    <a:schemeClr val="tx1"/>
                  </a:solidFill>
                  <a:latin typeface="Times New Roman" panose="02020603050405020304" pitchFamily="18" charset="0"/>
                </a:defRPr>
              </a:lvl1pPr>
              <a:lvl2pPr>
                <a:spcBef>
                  <a:spcPct val="0"/>
                </a:spcBef>
                <a:tabLst>
                  <a:tab pos="952500" algn="l"/>
                </a:tabLst>
                <a:defRPr sz="2400">
                  <a:solidFill>
                    <a:schemeClr val="tx1"/>
                  </a:solidFill>
                  <a:latin typeface="Times New Roman" panose="02020603050405020304" pitchFamily="18" charset="0"/>
                </a:defRPr>
              </a:lvl2pPr>
              <a:lvl3pPr>
                <a:spcBef>
                  <a:spcPct val="0"/>
                </a:spcBef>
                <a:tabLst>
                  <a:tab pos="952500" algn="l"/>
                </a:tabLst>
                <a:defRPr sz="2400">
                  <a:solidFill>
                    <a:schemeClr val="tx1"/>
                  </a:solidFill>
                  <a:latin typeface="Times New Roman" panose="02020603050405020304" pitchFamily="18" charset="0"/>
                </a:defRPr>
              </a:lvl3pPr>
              <a:lvl4pPr>
                <a:spcBef>
                  <a:spcPct val="0"/>
                </a:spcBef>
                <a:tabLst>
                  <a:tab pos="952500" algn="l"/>
                </a:tabLst>
                <a:defRPr sz="2400">
                  <a:solidFill>
                    <a:schemeClr val="tx1"/>
                  </a:solidFill>
                  <a:latin typeface="Times New Roman" panose="02020603050405020304" pitchFamily="18" charset="0"/>
                </a:defRPr>
              </a:lvl4pPr>
              <a:lvl5pPr>
                <a:spcBef>
                  <a:spcPct val="0"/>
                </a:spcBef>
                <a:tabLst>
                  <a:tab pos="952500" algn="l"/>
                </a:tabLst>
                <a:defRPr sz="2400">
                  <a:solidFill>
                    <a:schemeClr val="tx1"/>
                  </a:solidFill>
                  <a:latin typeface="Times New Roman" panose="02020603050405020304" pitchFamily="18" charset="0"/>
                </a:defRPr>
              </a:lvl5pPr>
              <a:lvl6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6pPr>
              <a:lvl7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7pPr>
              <a:lvl8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8pPr>
              <a:lvl9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9pPr>
            </a:lstStyle>
            <a:p>
              <a:pPr marL="0" marR="0" lvl="0" indent="0" defTabSz="914400" eaLnBrk="0" fontAlgn="base" latinLnBrk="0" hangingPunct="0">
                <a:lnSpc>
                  <a:spcPct val="90000"/>
                </a:lnSpc>
                <a:spcBef>
                  <a:spcPct val="10000"/>
                </a:spcBef>
                <a:spcAft>
                  <a:spcPct val="0"/>
                </a:spcAft>
                <a:buClrTx/>
                <a:buSzTx/>
                <a:buFontTx/>
                <a:buNone/>
                <a:tabLst>
                  <a:tab pos="952500" algn="l"/>
                </a:tabLst>
                <a:defRPr/>
              </a:pPr>
              <a:endParaRPr kumimoji="0" lang="fr-FR" altLang="fr-FR" sz="800" b="0" i="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66" name="Rectangle 63">
              <a:extLst>
                <a:ext uri="{FF2B5EF4-FFF2-40B4-BE49-F238E27FC236}">
                  <a16:creationId xmlns:a16="http://schemas.microsoft.com/office/drawing/2014/main" id="{3D542704-F329-4AC4-B8B9-217022605B9F}"/>
                </a:ext>
              </a:extLst>
            </p:cNvPr>
            <p:cNvSpPr>
              <a:spLocks noChangeArrowheads="1"/>
            </p:cNvSpPr>
            <p:nvPr/>
          </p:nvSpPr>
          <p:spPr bwMode="auto">
            <a:xfrm>
              <a:off x="1248" y="3275"/>
              <a:ext cx="813" cy="517"/>
            </a:xfrm>
            <a:prstGeom prst="rect">
              <a:avLst/>
            </a:prstGeom>
            <a:noFill/>
            <a:ln w="9525">
              <a:solidFill>
                <a:srgbClr val="F0F0F0"/>
              </a:solidFill>
              <a:miter lim="800000"/>
              <a:headEnd/>
              <a:tailEnd/>
            </a:ln>
            <a:extLst>
              <a:ext uri="{909E8E84-426E-40DD-AFC4-6F175D3DCCD1}">
                <a14:hiddenFill xmlns:a14="http://schemas.microsoft.com/office/drawing/2010/main">
                  <a:solidFill>
                    <a:srgbClr val="B6CAD2"/>
                  </a:solidFill>
                </a14:hiddenFill>
              </a:ext>
            </a:extLst>
          </p:spPr>
          <p:txBody>
            <a:bodyPr/>
            <a:lstStyle>
              <a:lvl1pPr>
                <a:spcBef>
                  <a:spcPct val="0"/>
                </a:spcBef>
                <a:tabLst>
                  <a:tab pos="952500" algn="l"/>
                </a:tabLst>
                <a:defRPr sz="2400">
                  <a:solidFill>
                    <a:schemeClr val="tx1"/>
                  </a:solidFill>
                  <a:latin typeface="Times New Roman" panose="02020603050405020304" pitchFamily="18" charset="0"/>
                </a:defRPr>
              </a:lvl1pPr>
              <a:lvl2pPr>
                <a:spcBef>
                  <a:spcPct val="0"/>
                </a:spcBef>
                <a:tabLst>
                  <a:tab pos="952500" algn="l"/>
                </a:tabLst>
                <a:defRPr sz="2400">
                  <a:solidFill>
                    <a:schemeClr val="tx1"/>
                  </a:solidFill>
                  <a:latin typeface="Times New Roman" panose="02020603050405020304" pitchFamily="18" charset="0"/>
                </a:defRPr>
              </a:lvl2pPr>
              <a:lvl3pPr>
                <a:spcBef>
                  <a:spcPct val="0"/>
                </a:spcBef>
                <a:tabLst>
                  <a:tab pos="952500" algn="l"/>
                </a:tabLst>
                <a:defRPr sz="2400">
                  <a:solidFill>
                    <a:schemeClr val="tx1"/>
                  </a:solidFill>
                  <a:latin typeface="Times New Roman" panose="02020603050405020304" pitchFamily="18" charset="0"/>
                </a:defRPr>
              </a:lvl3pPr>
              <a:lvl4pPr>
                <a:spcBef>
                  <a:spcPct val="0"/>
                </a:spcBef>
                <a:tabLst>
                  <a:tab pos="952500" algn="l"/>
                </a:tabLst>
                <a:defRPr sz="2400">
                  <a:solidFill>
                    <a:schemeClr val="tx1"/>
                  </a:solidFill>
                  <a:latin typeface="Times New Roman" panose="02020603050405020304" pitchFamily="18" charset="0"/>
                </a:defRPr>
              </a:lvl4pPr>
              <a:lvl5pPr>
                <a:spcBef>
                  <a:spcPct val="0"/>
                </a:spcBef>
                <a:tabLst>
                  <a:tab pos="952500" algn="l"/>
                </a:tabLst>
                <a:defRPr sz="2400">
                  <a:solidFill>
                    <a:schemeClr val="tx1"/>
                  </a:solidFill>
                  <a:latin typeface="Times New Roman" panose="02020603050405020304" pitchFamily="18" charset="0"/>
                </a:defRPr>
              </a:lvl5pPr>
              <a:lvl6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6pPr>
              <a:lvl7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7pPr>
              <a:lvl8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8pPr>
              <a:lvl9pPr eaLnBrk="0" fontAlgn="base" hangingPunct="0">
                <a:spcBef>
                  <a:spcPct val="0"/>
                </a:spcBef>
                <a:spcAft>
                  <a:spcPct val="0"/>
                </a:spcAft>
                <a:tabLst>
                  <a:tab pos="952500" algn="l"/>
                </a:tabLst>
                <a:defRPr sz="2400">
                  <a:solidFill>
                    <a:schemeClr val="tx1"/>
                  </a:solidFill>
                  <a:latin typeface="Times New Roman" panose="02020603050405020304" pitchFamily="18" charset="0"/>
                </a:defRPr>
              </a:lvl9pPr>
            </a:lstStyle>
            <a:p>
              <a:pPr marL="0" marR="0" lvl="0" indent="0" defTabSz="914400" eaLnBrk="0" fontAlgn="base" latinLnBrk="0" hangingPunct="0">
                <a:lnSpc>
                  <a:spcPct val="90000"/>
                </a:lnSpc>
                <a:spcBef>
                  <a:spcPct val="10000"/>
                </a:spcBef>
                <a:spcAft>
                  <a:spcPct val="0"/>
                </a:spcAft>
                <a:buClrTx/>
                <a:buSzTx/>
                <a:buFontTx/>
                <a:buNone/>
                <a:tabLst>
                  <a:tab pos="952500" algn="l"/>
                </a:tabLst>
                <a:defRPr/>
              </a:pPr>
              <a:endParaRPr kumimoji="0" lang="fr-FR" altLang="fr-FR" sz="800" b="0" i="0" u="none" strike="noStrike" kern="0" cap="none" spc="0" normalizeH="0" baseline="0" noProof="0" dirty="0">
                <a:ln>
                  <a:noFill/>
                </a:ln>
                <a:solidFill>
                  <a:srgbClr val="000000"/>
                </a:solidFill>
                <a:effectLst/>
                <a:uLnTx/>
                <a:uFillTx/>
                <a:latin typeface="Arial" panose="020B0604020202020204" pitchFamily="34" charset="0"/>
              </a:endParaRPr>
            </a:p>
          </p:txBody>
        </p:sp>
        <p:grpSp>
          <p:nvGrpSpPr>
            <p:cNvPr id="67" name="Group 64">
              <a:extLst>
                <a:ext uri="{FF2B5EF4-FFF2-40B4-BE49-F238E27FC236}">
                  <a16:creationId xmlns:a16="http://schemas.microsoft.com/office/drawing/2014/main" id="{73AF3629-BF80-41F1-930F-1871332F0367}"/>
                </a:ext>
              </a:extLst>
            </p:cNvPr>
            <p:cNvGrpSpPr>
              <a:grpSpLocks/>
            </p:cNvGrpSpPr>
            <p:nvPr/>
          </p:nvGrpSpPr>
          <p:grpSpPr bwMode="auto">
            <a:xfrm>
              <a:off x="1335" y="3347"/>
              <a:ext cx="656" cy="393"/>
              <a:chOff x="1421" y="2770"/>
              <a:chExt cx="532" cy="319"/>
            </a:xfrm>
          </p:grpSpPr>
          <p:sp>
            <p:nvSpPr>
              <p:cNvPr id="71" name="Freeform 65">
                <a:extLst>
                  <a:ext uri="{FF2B5EF4-FFF2-40B4-BE49-F238E27FC236}">
                    <a16:creationId xmlns:a16="http://schemas.microsoft.com/office/drawing/2014/main" id="{91DABB8E-68F6-4CE5-BF13-82FF25426EEC}"/>
                  </a:ext>
                </a:extLst>
              </p:cNvPr>
              <p:cNvSpPr>
                <a:spLocks/>
              </p:cNvSpPr>
              <p:nvPr/>
            </p:nvSpPr>
            <p:spPr bwMode="auto">
              <a:xfrm>
                <a:off x="1831" y="2962"/>
                <a:ext cx="122" cy="127"/>
              </a:xfrm>
              <a:custGeom>
                <a:avLst/>
                <a:gdLst>
                  <a:gd name="T0" fmla="*/ 0 w 122"/>
                  <a:gd name="T1" fmla="*/ 49 h 127"/>
                  <a:gd name="T2" fmla="*/ 7 w 122"/>
                  <a:gd name="T3" fmla="*/ 62 h 127"/>
                  <a:gd name="T4" fmla="*/ 17 w 122"/>
                  <a:gd name="T5" fmla="*/ 89 h 127"/>
                  <a:gd name="T6" fmla="*/ 17 w 122"/>
                  <a:gd name="T7" fmla="*/ 119 h 127"/>
                  <a:gd name="T8" fmla="*/ 43 w 122"/>
                  <a:gd name="T9" fmla="*/ 127 h 127"/>
                  <a:gd name="T10" fmla="*/ 54 w 122"/>
                  <a:gd name="T11" fmla="*/ 111 h 127"/>
                  <a:gd name="T12" fmla="*/ 78 w 122"/>
                  <a:gd name="T13" fmla="*/ 97 h 127"/>
                  <a:gd name="T14" fmla="*/ 117 w 122"/>
                  <a:gd name="T15" fmla="*/ 85 h 127"/>
                  <a:gd name="T16" fmla="*/ 122 w 122"/>
                  <a:gd name="T17" fmla="*/ 72 h 127"/>
                  <a:gd name="T18" fmla="*/ 95 w 122"/>
                  <a:gd name="T19" fmla="*/ 52 h 127"/>
                  <a:gd name="T20" fmla="*/ 94 w 122"/>
                  <a:gd name="T21" fmla="*/ 39 h 127"/>
                  <a:gd name="T22" fmla="*/ 84 w 122"/>
                  <a:gd name="T23" fmla="*/ 28 h 127"/>
                  <a:gd name="T24" fmla="*/ 22 w 122"/>
                  <a:gd name="T25" fmla="*/ 0 h 127"/>
                  <a:gd name="T26" fmla="*/ 16 w 122"/>
                  <a:gd name="T27" fmla="*/ 4 h 127"/>
                  <a:gd name="T28" fmla="*/ 17 w 122"/>
                  <a:gd name="T29" fmla="*/ 16 h 127"/>
                  <a:gd name="T30" fmla="*/ 23 w 122"/>
                  <a:gd name="T31" fmla="*/ 27 h 127"/>
                  <a:gd name="T32" fmla="*/ 0 w 122"/>
                  <a:gd name="T33" fmla="*/ 4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127">
                    <a:moveTo>
                      <a:pt x="0" y="49"/>
                    </a:moveTo>
                    <a:lnTo>
                      <a:pt x="7" y="62"/>
                    </a:lnTo>
                    <a:lnTo>
                      <a:pt x="17" y="89"/>
                    </a:lnTo>
                    <a:lnTo>
                      <a:pt x="17" y="119"/>
                    </a:lnTo>
                    <a:lnTo>
                      <a:pt x="43" y="127"/>
                    </a:lnTo>
                    <a:lnTo>
                      <a:pt x="54" y="111"/>
                    </a:lnTo>
                    <a:lnTo>
                      <a:pt x="78" y="97"/>
                    </a:lnTo>
                    <a:lnTo>
                      <a:pt x="117" y="85"/>
                    </a:lnTo>
                    <a:lnTo>
                      <a:pt x="122" y="72"/>
                    </a:lnTo>
                    <a:lnTo>
                      <a:pt x="95" y="52"/>
                    </a:lnTo>
                    <a:lnTo>
                      <a:pt x="94" y="39"/>
                    </a:lnTo>
                    <a:lnTo>
                      <a:pt x="84" y="28"/>
                    </a:lnTo>
                    <a:lnTo>
                      <a:pt x="22" y="0"/>
                    </a:lnTo>
                    <a:lnTo>
                      <a:pt x="16" y="4"/>
                    </a:lnTo>
                    <a:lnTo>
                      <a:pt x="17" y="16"/>
                    </a:lnTo>
                    <a:lnTo>
                      <a:pt x="23" y="27"/>
                    </a:lnTo>
                    <a:lnTo>
                      <a:pt x="0" y="49"/>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2" name="Freeform 66">
                <a:extLst>
                  <a:ext uri="{FF2B5EF4-FFF2-40B4-BE49-F238E27FC236}">
                    <a16:creationId xmlns:a16="http://schemas.microsoft.com/office/drawing/2014/main" id="{CD864F29-BEF5-4207-80FE-16189A22E701}"/>
                  </a:ext>
                </a:extLst>
              </p:cNvPr>
              <p:cNvSpPr>
                <a:spLocks/>
              </p:cNvSpPr>
              <p:nvPr/>
            </p:nvSpPr>
            <p:spPr bwMode="auto">
              <a:xfrm>
                <a:off x="1771" y="2929"/>
                <a:ext cx="10" cy="9"/>
              </a:xfrm>
              <a:custGeom>
                <a:avLst/>
                <a:gdLst>
                  <a:gd name="T0" fmla="*/ 10 w 10"/>
                  <a:gd name="T1" fmla="*/ 6 h 9"/>
                  <a:gd name="T2" fmla="*/ 1 w 10"/>
                  <a:gd name="T3" fmla="*/ 9 h 9"/>
                  <a:gd name="T4" fmla="*/ 0 w 10"/>
                  <a:gd name="T5" fmla="*/ 4 h 9"/>
                  <a:gd name="T6" fmla="*/ 9 w 10"/>
                  <a:gd name="T7" fmla="*/ 0 h 9"/>
                  <a:gd name="T8" fmla="*/ 10 w 10"/>
                  <a:gd name="T9" fmla="*/ 6 h 9"/>
                </a:gdLst>
                <a:ahLst/>
                <a:cxnLst>
                  <a:cxn ang="0">
                    <a:pos x="T0" y="T1"/>
                  </a:cxn>
                  <a:cxn ang="0">
                    <a:pos x="T2" y="T3"/>
                  </a:cxn>
                  <a:cxn ang="0">
                    <a:pos x="T4" y="T5"/>
                  </a:cxn>
                  <a:cxn ang="0">
                    <a:pos x="T6" y="T7"/>
                  </a:cxn>
                  <a:cxn ang="0">
                    <a:pos x="T8" y="T9"/>
                  </a:cxn>
                </a:cxnLst>
                <a:rect l="0" t="0" r="r" b="b"/>
                <a:pathLst>
                  <a:path w="10" h="9">
                    <a:moveTo>
                      <a:pt x="10" y="6"/>
                    </a:moveTo>
                    <a:lnTo>
                      <a:pt x="1" y="9"/>
                    </a:lnTo>
                    <a:lnTo>
                      <a:pt x="0" y="4"/>
                    </a:lnTo>
                    <a:lnTo>
                      <a:pt x="9" y="0"/>
                    </a:lnTo>
                    <a:lnTo>
                      <a:pt x="10" y="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3" name="Freeform 67">
                <a:extLst>
                  <a:ext uri="{FF2B5EF4-FFF2-40B4-BE49-F238E27FC236}">
                    <a16:creationId xmlns:a16="http://schemas.microsoft.com/office/drawing/2014/main" id="{422C73AB-AD13-4B78-A7C5-F62164EB6C90}"/>
                  </a:ext>
                </a:extLst>
              </p:cNvPr>
              <p:cNvSpPr>
                <a:spLocks/>
              </p:cNvSpPr>
              <p:nvPr/>
            </p:nvSpPr>
            <p:spPr bwMode="auto">
              <a:xfrm>
                <a:off x="1767" y="2886"/>
                <a:ext cx="69" cy="45"/>
              </a:xfrm>
              <a:custGeom>
                <a:avLst/>
                <a:gdLst>
                  <a:gd name="T0" fmla="*/ 22 w 69"/>
                  <a:gd name="T1" fmla="*/ 25 h 45"/>
                  <a:gd name="T2" fmla="*/ 28 w 69"/>
                  <a:gd name="T3" fmla="*/ 45 h 45"/>
                  <a:gd name="T4" fmla="*/ 40 w 69"/>
                  <a:gd name="T5" fmla="*/ 45 h 45"/>
                  <a:gd name="T6" fmla="*/ 57 w 69"/>
                  <a:gd name="T7" fmla="*/ 40 h 45"/>
                  <a:gd name="T8" fmla="*/ 69 w 69"/>
                  <a:gd name="T9" fmla="*/ 34 h 45"/>
                  <a:gd name="T10" fmla="*/ 68 w 69"/>
                  <a:gd name="T11" fmla="*/ 24 h 45"/>
                  <a:gd name="T12" fmla="*/ 42 w 69"/>
                  <a:gd name="T13" fmla="*/ 11 h 45"/>
                  <a:gd name="T14" fmla="*/ 23 w 69"/>
                  <a:gd name="T15" fmla="*/ 15 h 45"/>
                  <a:gd name="T16" fmla="*/ 10 w 69"/>
                  <a:gd name="T17" fmla="*/ 0 h 45"/>
                  <a:gd name="T18" fmla="*/ 7 w 69"/>
                  <a:gd name="T19" fmla="*/ 1 h 45"/>
                  <a:gd name="T20" fmla="*/ 0 w 69"/>
                  <a:gd name="T21" fmla="*/ 12 h 45"/>
                  <a:gd name="T22" fmla="*/ 7 w 69"/>
                  <a:gd name="T23" fmla="*/ 22 h 45"/>
                  <a:gd name="T24" fmla="*/ 22 w 69"/>
                  <a:gd name="T25"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45">
                    <a:moveTo>
                      <a:pt x="22" y="25"/>
                    </a:moveTo>
                    <a:lnTo>
                      <a:pt x="28" y="45"/>
                    </a:lnTo>
                    <a:lnTo>
                      <a:pt x="40" y="45"/>
                    </a:lnTo>
                    <a:lnTo>
                      <a:pt x="57" y="40"/>
                    </a:lnTo>
                    <a:lnTo>
                      <a:pt x="69" y="34"/>
                    </a:lnTo>
                    <a:lnTo>
                      <a:pt x="68" y="24"/>
                    </a:lnTo>
                    <a:lnTo>
                      <a:pt x="42" y="11"/>
                    </a:lnTo>
                    <a:lnTo>
                      <a:pt x="23" y="15"/>
                    </a:lnTo>
                    <a:lnTo>
                      <a:pt x="10" y="0"/>
                    </a:lnTo>
                    <a:lnTo>
                      <a:pt x="7" y="1"/>
                    </a:lnTo>
                    <a:lnTo>
                      <a:pt x="0" y="12"/>
                    </a:lnTo>
                    <a:lnTo>
                      <a:pt x="7" y="22"/>
                    </a:lnTo>
                    <a:lnTo>
                      <a:pt x="22"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4" name="Freeform 68">
                <a:extLst>
                  <a:ext uri="{FF2B5EF4-FFF2-40B4-BE49-F238E27FC236}">
                    <a16:creationId xmlns:a16="http://schemas.microsoft.com/office/drawing/2014/main" id="{9655A8F1-42D4-4428-9E60-A9838C4F1E17}"/>
                  </a:ext>
                </a:extLst>
              </p:cNvPr>
              <p:cNvSpPr>
                <a:spLocks/>
              </p:cNvSpPr>
              <p:nvPr/>
            </p:nvSpPr>
            <p:spPr bwMode="auto">
              <a:xfrm>
                <a:off x="1733" y="2898"/>
                <a:ext cx="24" cy="18"/>
              </a:xfrm>
              <a:custGeom>
                <a:avLst/>
                <a:gdLst>
                  <a:gd name="T0" fmla="*/ 14 w 24"/>
                  <a:gd name="T1" fmla="*/ 0 h 18"/>
                  <a:gd name="T2" fmla="*/ 24 w 24"/>
                  <a:gd name="T3" fmla="*/ 10 h 18"/>
                  <a:gd name="T4" fmla="*/ 20 w 24"/>
                  <a:gd name="T5" fmla="*/ 16 h 18"/>
                  <a:gd name="T6" fmla="*/ 9 w 24"/>
                  <a:gd name="T7" fmla="*/ 18 h 18"/>
                  <a:gd name="T8" fmla="*/ 7 w 24"/>
                  <a:gd name="T9" fmla="*/ 10 h 18"/>
                  <a:gd name="T10" fmla="*/ 0 w 24"/>
                  <a:gd name="T11" fmla="*/ 4 h 18"/>
                  <a:gd name="T12" fmla="*/ 0 w 24"/>
                  <a:gd name="T13" fmla="*/ 1 h 18"/>
                  <a:gd name="T14" fmla="*/ 14 w 2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14" y="0"/>
                    </a:moveTo>
                    <a:lnTo>
                      <a:pt x="24" y="10"/>
                    </a:lnTo>
                    <a:lnTo>
                      <a:pt x="20" y="16"/>
                    </a:lnTo>
                    <a:lnTo>
                      <a:pt x="9" y="18"/>
                    </a:lnTo>
                    <a:lnTo>
                      <a:pt x="7" y="10"/>
                    </a:lnTo>
                    <a:lnTo>
                      <a:pt x="0" y="4"/>
                    </a:lnTo>
                    <a:lnTo>
                      <a:pt x="0" y="1"/>
                    </a:lnTo>
                    <a:lnTo>
                      <a:pt x="14"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5" name="Freeform 69">
                <a:extLst>
                  <a:ext uri="{FF2B5EF4-FFF2-40B4-BE49-F238E27FC236}">
                    <a16:creationId xmlns:a16="http://schemas.microsoft.com/office/drawing/2014/main" id="{DC822C56-1EF0-4BD1-A5D8-EB43F4D05702}"/>
                  </a:ext>
                </a:extLst>
              </p:cNvPr>
              <p:cNvSpPr>
                <a:spLocks/>
              </p:cNvSpPr>
              <p:nvPr/>
            </p:nvSpPr>
            <p:spPr bwMode="auto">
              <a:xfrm>
                <a:off x="1708" y="2869"/>
                <a:ext cx="59" cy="17"/>
              </a:xfrm>
              <a:custGeom>
                <a:avLst/>
                <a:gdLst>
                  <a:gd name="T0" fmla="*/ 45 w 59"/>
                  <a:gd name="T1" fmla="*/ 17 h 17"/>
                  <a:gd name="T2" fmla="*/ 54 w 59"/>
                  <a:gd name="T3" fmla="*/ 15 h 17"/>
                  <a:gd name="T4" fmla="*/ 59 w 59"/>
                  <a:gd name="T5" fmla="*/ 6 h 17"/>
                  <a:gd name="T6" fmla="*/ 5 w 59"/>
                  <a:gd name="T7" fmla="*/ 0 h 17"/>
                  <a:gd name="T8" fmla="*/ 0 w 59"/>
                  <a:gd name="T9" fmla="*/ 12 h 17"/>
                  <a:gd name="T10" fmla="*/ 5 w 59"/>
                  <a:gd name="T11" fmla="*/ 13 h 17"/>
                  <a:gd name="T12" fmla="*/ 23 w 59"/>
                  <a:gd name="T13" fmla="*/ 11 h 17"/>
                  <a:gd name="T14" fmla="*/ 45 w 5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7">
                    <a:moveTo>
                      <a:pt x="45" y="17"/>
                    </a:moveTo>
                    <a:lnTo>
                      <a:pt x="54" y="15"/>
                    </a:lnTo>
                    <a:lnTo>
                      <a:pt x="59" y="6"/>
                    </a:lnTo>
                    <a:lnTo>
                      <a:pt x="5" y="0"/>
                    </a:lnTo>
                    <a:lnTo>
                      <a:pt x="0" y="12"/>
                    </a:lnTo>
                    <a:lnTo>
                      <a:pt x="5" y="13"/>
                    </a:lnTo>
                    <a:lnTo>
                      <a:pt x="23" y="11"/>
                    </a:lnTo>
                    <a:lnTo>
                      <a:pt x="45" y="1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6" name="Freeform 70">
                <a:extLst>
                  <a:ext uri="{FF2B5EF4-FFF2-40B4-BE49-F238E27FC236}">
                    <a16:creationId xmlns:a16="http://schemas.microsoft.com/office/drawing/2014/main" id="{8DFD12FE-EC88-4EC3-8BF4-63D166BD3526}"/>
                  </a:ext>
                </a:extLst>
              </p:cNvPr>
              <p:cNvSpPr>
                <a:spLocks/>
              </p:cNvSpPr>
              <p:nvPr/>
            </p:nvSpPr>
            <p:spPr bwMode="auto">
              <a:xfrm>
                <a:off x="1613" y="2823"/>
                <a:ext cx="59" cy="41"/>
              </a:xfrm>
              <a:custGeom>
                <a:avLst/>
                <a:gdLst>
                  <a:gd name="T0" fmla="*/ 18 w 59"/>
                  <a:gd name="T1" fmla="*/ 39 h 41"/>
                  <a:gd name="T2" fmla="*/ 38 w 59"/>
                  <a:gd name="T3" fmla="*/ 38 h 41"/>
                  <a:gd name="T4" fmla="*/ 50 w 59"/>
                  <a:gd name="T5" fmla="*/ 41 h 41"/>
                  <a:gd name="T6" fmla="*/ 59 w 59"/>
                  <a:gd name="T7" fmla="*/ 36 h 41"/>
                  <a:gd name="T8" fmla="*/ 42 w 59"/>
                  <a:gd name="T9" fmla="*/ 18 h 41"/>
                  <a:gd name="T10" fmla="*/ 30 w 59"/>
                  <a:gd name="T11" fmla="*/ 0 h 41"/>
                  <a:gd name="T12" fmla="*/ 15 w 59"/>
                  <a:gd name="T13" fmla="*/ 11 h 41"/>
                  <a:gd name="T14" fmla="*/ 0 w 59"/>
                  <a:gd name="T15" fmla="*/ 11 h 41"/>
                  <a:gd name="T16" fmla="*/ 18 w 59"/>
                  <a:gd name="T1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41">
                    <a:moveTo>
                      <a:pt x="18" y="39"/>
                    </a:moveTo>
                    <a:lnTo>
                      <a:pt x="38" y="38"/>
                    </a:lnTo>
                    <a:lnTo>
                      <a:pt x="50" y="41"/>
                    </a:lnTo>
                    <a:lnTo>
                      <a:pt x="59" y="36"/>
                    </a:lnTo>
                    <a:lnTo>
                      <a:pt x="42" y="18"/>
                    </a:lnTo>
                    <a:lnTo>
                      <a:pt x="30" y="0"/>
                    </a:lnTo>
                    <a:lnTo>
                      <a:pt x="15" y="11"/>
                    </a:lnTo>
                    <a:lnTo>
                      <a:pt x="0" y="11"/>
                    </a:lnTo>
                    <a:lnTo>
                      <a:pt x="18" y="39"/>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7" name="Freeform 71">
                <a:extLst>
                  <a:ext uri="{FF2B5EF4-FFF2-40B4-BE49-F238E27FC236}">
                    <a16:creationId xmlns:a16="http://schemas.microsoft.com/office/drawing/2014/main" id="{DB6677C1-6FFE-4B81-BE70-C6140FEDBF22}"/>
                  </a:ext>
                </a:extLst>
              </p:cNvPr>
              <p:cNvSpPr>
                <a:spLocks/>
              </p:cNvSpPr>
              <p:nvPr/>
            </p:nvSpPr>
            <p:spPr bwMode="auto">
              <a:xfrm>
                <a:off x="1468" y="2770"/>
                <a:ext cx="44" cy="34"/>
              </a:xfrm>
              <a:custGeom>
                <a:avLst/>
                <a:gdLst>
                  <a:gd name="T0" fmla="*/ 34 w 44"/>
                  <a:gd name="T1" fmla="*/ 34 h 34"/>
                  <a:gd name="T2" fmla="*/ 43 w 44"/>
                  <a:gd name="T3" fmla="*/ 27 h 34"/>
                  <a:gd name="T4" fmla="*/ 44 w 44"/>
                  <a:gd name="T5" fmla="*/ 8 h 34"/>
                  <a:gd name="T6" fmla="*/ 35 w 44"/>
                  <a:gd name="T7" fmla="*/ 0 h 34"/>
                  <a:gd name="T8" fmla="*/ 16 w 44"/>
                  <a:gd name="T9" fmla="*/ 3 h 34"/>
                  <a:gd name="T10" fmla="*/ 2 w 44"/>
                  <a:gd name="T11" fmla="*/ 12 h 34"/>
                  <a:gd name="T12" fmla="*/ 0 w 44"/>
                  <a:gd name="T13" fmla="*/ 23 h 34"/>
                  <a:gd name="T14" fmla="*/ 21 w 44"/>
                  <a:gd name="T15" fmla="*/ 34 h 34"/>
                  <a:gd name="T16" fmla="*/ 34 w 4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34" y="34"/>
                    </a:moveTo>
                    <a:lnTo>
                      <a:pt x="43" y="27"/>
                    </a:lnTo>
                    <a:lnTo>
                      <a:pt x="44" y="8"/>
                    </a:lnTo>
                    <a:lnTo>
                      <a:pt x="35" y="0"/>
                    </a:lnTo>
                    <a:lnTo>
                      <a:pt x="16" y="3"/>
                    </a:lnTo>
                    <a:lnTo>
                      <a:pt x="2" y="12"/>
                    </a:lnTo>
                    <a:lnTo>
                      <a:pt x="0" y="23"/>
                    </a:lnTo>
                    <a:lnTo>
                      <a:pt x="21" y="34"/>
                    </a:lnTo>
                    <a:lnTo>
                      <a:pt x="34" y="34"/>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78" name="Freeform 72">
                <a:extLst>
                  <a:ext uri="{FF2B5EF4-FFF2-40B4-BE49-F238E27FC236}">
                    <a16:creationId xmlns:a16="http://schemas.microsoft.com/office/drawing/2014/main" id="{3110E274-9F54-4138-9601-A88394E27663}"/>
                  </a:ext>
                </a:extLst>
              </p:cNvPr>
              <p:cNvSpPr>
                <a:spLocks/>
              </p:cNvSpPr>
              <p:nvPr/>
            </p:nvSpPr>
            <p:spPr bwMode="auto">
              <a:xfrm>
                <a:off x="1421" y="2790"/>
                <a:ext cx="18" cy="24"/>
              </a:xfrm>
              <a:custGeom>
                <a:avLst/>
                <a:gdLst>
                  <a:gd name="T0" fmla="*/ 15 w 18"/>
                  <a:gd name="T1" fmla="*/ 0 h 24"/>
                  <a:gd name="T2" fmla="*/ 18 w 18"/>
                  <a:gd name="T3" fmla="*/ 3 h 24"/>
                  <a:gd name="T4" fmla="*/ 5 w 18"/>
                  <a:gd name="T5" fmla="*/ 24 h 24"/>
                  <a:gd name="T6" fmla="*/ 0 w 18"/>
                  <a:gd name="T7" fmla="*/ 22 h 24"/>
                  <a:gd name="T8" fmla="*/ 15 w 18"/>
                  <a:gd name="T9" fmla="*/ 0 h 24"/>
                </a:gdLst>
                <a:ahLst/>
                <a:cxnLst>
                  <a:cxn ang="0">
                    <a:pos x="T0" y="T1"/>
                  </a:cxn>
                  <a:cxn ang="0">
                    <a:pos x="T2" y="T3"/>
                  </a:cxn>
                  <a:cxn ang="0">
                    <a:pos x="T4" y="T5"/>
                  </a:cxn>
                  <a:cxn ang="0">
                    <a:pos x="T6" y="T7"/>
                  </a:cxn>
                  <a:cxn ang="0">
                    <a:pos x="T8" y="T9"/>
                  </a:cxn>
                </a:cxnLst>
                <a:rect l="0" t="0" r="r" b="b"/>
                <a:pathLst>
                  <a:path w="18" h="24">
                    <a:moveTo>
                      <a:pt x="15" y="0"/>
                    </a:moveTo>
                    <a:lnTo>
                      <a:pt x="18" y="3"/>
                    </a:lnTo>
                    <a:lnTo>
                      <a:pt x="5" y="24"/>
                    </a:lnTo>
                    <a:lnTo>
                      <a:pt x="0" y="22"/>
                    </a:lnTo>
                    <a:lnTo>
                      <a:pt x="15"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grpSp>
        <p:sp>
          <p:nvSpPr>
            <p:cNvPr id="68" name="Freeform 73">
              <a:extLst>
                <a:ext uri="{FF2B5EF4-FFF2-40B4-BE49-F238E27FC236}">
                  <a16:creationId xmlns:a16="http://schemas.microsoft.com/office/drawing/2014/main" id="{923DB25D-607E-40C2-AE7D-DF009CF7D3BA}"/>
                </a:ext>
              </a:extLst>
            </p:cNvPr>
            <p:cNvSpPr>
              <a:spLocks/>
            </p:cNvSpPr>
            <p:nvPr/>
          </p:nvSpPr>
          <p:spPr bwMode="auto">
            <a:xfrm>
              <a:off x="1300" y="2580"/>
              <a:ext cx="709" cy="601"/>
            </a:xfrm>
            <a:custGeom>
              <a:avLst/>
              <a:gdLst>
                <a:gd name="T0" fmla="*/ 54 w 709"/>
                <a:gd name="T1" fmla="*/ 115 h 601"/>
                <a:gd name="T2" fmla="*/ 96 w 709"/>
                <a:gd name="T3" fmla="*/ 151 h 601"/>
                <a:gd name="T4" fmla="*/ 67 w 709"/>
                <a:gd name="T5" fmla="*/ 187 h 601"/>
                <a:gd name="T6" fmla="*/ 60 w 709"/>
                <a:gd name="T7" fmla="*/ 163 h 601"/>
                <a:gd name="T8" fmla="*/ 19 w 709"/>
                <a:gd name="T9" fmla="*/ 205 h 601"/>
                <a:gd name="T10" fmla="*/ 43 w 709"/>
                <a:gd name="T11" fmla="*/ 241 h 601"/>
                <a:gd name="T12" fmla="*/ 102 w 709"/>
                <a:gd name="T13" fmla="*/ 229 h 601"/>
                <a:gd name="T14" fmla="*/ 84 w 709"/>
                <a:gd name="T15" fmla="*/ 277 h 601"/>
                <a:gd name="T16" fmla="*/ 67 w 709"/>
                <a:gd name="T17" fmla="*/ 295 h 601"/>
                <a:gd name="T18" fmla="*/ 36 w 709"/>
                <a:gd name="T19" fmla="*/ 307 h 601"/>
                <a:gd name="T20" fmla="*/ 24 w 709"/>
                <a:gd name="T21" fmla="*/ 367 h 601"/>
                <a:gd name="T22" fmla="*/ 43 w 709"/>
                <a:gd name="T23" fmla="*/ 403 h 601"/>
                <a:gd name="T24" fmla="*/ 84 w 709"/>
                <a:gd name="T25" fmla="*/ 421 h 601"/>
                <a:gd name="T26" fmla="*/ 84 w 709"/>
                <a:gd name="T27" fmla="*/ 451 h 601"/>
                <a:gd name="T28" fmla="*/ 132 w 709"/>
                <a:gd name="T29" fmla="*/ 463 h 601"/>
                <a:gd name="T30" fmla="*/ 156 w 709"/>
                <a:gd name="T31" fmla="*/ 469 h 601"/>
                <a:gd name="T32" fmla="*/ 108 w 709"/>
                <a:gd name="T33" fmla="*/ 529 h 601"/>
                <a:gd name="T34" fmla="*/ 72 w 709"/>
                <a:gd name="T35" fmla="*/ 553 h 601"/>
                <a:gd name="T36" fmla="*/ 12 w 709"/>
                <a:gd name="T37" fmla="*/ 583 h 601"/>
                <a:gd name="T38" fmla="*/ 12 w 709"/>
                <a:gd name="T39" fmla="*/ 601 h 601"/>
                <a:gd name="T40" fmla="*/ 108 w 709"/>
                <a:gd name="T41" fmla="*/ 559 h 601"/>
                <a:gd name="T42" fmla="*/ 235 w 709"/>
                <a:gd name="T43" fmla="*/ 451 h 601"/>
                <a:gd name="T44" fmla="*/ 222 w 709"/>
                <a:gd name="T45" fmla="*/ 439 h 601"/>
                <a:gd name="T46" fmla="*/ 288 w 709"/>
                <a:gd name="T47" fmla="*/ 355 h 601"/>
                <a:gd name="T48" fmla="*/ 270 w 709"/>
                <a:gd name="T49" fmla="*/ 379 h 601"/>
                <a:gd name="T50" fmla="*/ 276 w 709"/>
                <a:gd name="T51" fmla="*/ 409 h 601"/>
                <a:gd name="T52" fmla="*/ 270 w 709"/>
                <a:gd name="T53" fmla="*/ 427 h 601"/>
                <a:gd name="T54" fmla="*/ 324 w 709"/>
                <a:gd name="T55" fmla="*/ 397 h 601"/>
                <a:gd name="T56" fmla="*/ 324 w 709"/>
                <a:gd name="T57" fmla="*/ 367 h 601"/>
                <a:gd name="T58" fmla="*/ 404 w 709"/>
                <a:gd name="T59" fmla="*/ 385 h 601"/>
                <a:gd name="T60" fmla="*/ 457 w 709"/>
                <a:gd name="T61" fmla="*/ 379 h 601"/>
                <a:gd name="T62" fmla="*/ 548 w 709"/>
                <a:gd name="T63" fmla="*/ 409 h 601"/>
                <a:gd name="T64" fmla="*/ 577 w 709"/>
                <a:gd name="T65" fmla="*/ 445 h 601"/>
                <a:gd name="T66" fmla="*/ 625 w 709"/>
                <a:gd name="T67" fmla="*/ 481 h 601"/>
                <a:gd name="T68" fmla="*/ 709 w 709"/>
                <a:gd name="T69" fmla="*/ 487 h 601"/>
                <a:gd name="T70" fmla="*/ 697 w 709"/>
                <a:gd name="T71" fmla="*/ 439 h 601"/>
                <a:gd name="T72" fmla="*/ 661 w 709"/>
                <a:gd name="T73" fmla="*/ 433 h 601"/>
                <a:gd name="T74" fmla="*/ 613 w 709"/>
                <a:gd name="T75" fmla="*/ 397 h 601"/>
                <a:gd name="T76" fmla="*/ 553 w 709"/>
                <a:gd name="T77" fmla="*/ 355 h 601"/>
                <a:gd name="T78" fmla="*/ 529 w 709"/>
                <a:gd name="T79" fmla="*/ 385 h 601"/>
                <a:gd name="T80" fmla="*/ 487 w 709"/>
                <a:gd name="T81" fmla="*/ 349 h 601"/>
                <a:gd name="T82" fmla="*/ 439 w 709"/>
                <a:gd name="T83" fmla="*/ 301 h 601"/>
                <a:gd name="T84" fmla="*/ 385 w 709"/>
                <a:gd name="T85" fmla="*/ 79 h 601"/>
                <a:gd name="T86" fmla="*/ 336 w 709"/>
                <a:gd name="T87" fmla="*/ 18 h 601"/>
                <a:gd name="T88" fmla="*/ 259 w 709"/>
                <a:gd name="T89" fmla="*/ 18 h 601"/>
                <a:gd name="T90" fmla="*/ 222 w 709"/>
                <a:gd name="T91" fmla="*/ 18 h 601"/>
                <a:gd name="T92" fmla="*/ 168 w 709"/>
                <a:gd name="T93" fmla="*/ 0 h 601"/>
                <a:gd name="T94" fmla="*/ 132 w 709"/>
                <a:gd name="T95" fmla="*/ 12 h 601"/>
                <a:gd name="T96" fmla="*/ 91 w 709"/>
                <a:gd name="T97" fmla="*/ 48 h 601"/>
                <a:gd name="T98" fmla="*/ 72 w 709"/>
                <a:gd name="T99" fmla="*/ 79 h 601"/>
                <a:gd name="T100" fmla="*/ 36 w 709"/>
                <a:gd name="T101" fmla="*/ 97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9" h="601">
                  <a:moveTo>
                    <a:pt x="36" y="97"/>
                  </a:moveTo>
                  <a:lnTo>
                    <a:pt x="54" y="115"/>
                  </a:lnTo>
                  <a:lnTo>
                    <a:pt x="72" y="145"/>
                  </a:lnTo>
                  <a:lnTo>
                    <a:pt x="96" y="151"/>
                  </a:lnTo>
                  <a:lnTo>
                    <a:pt x="96" y="187"/>
                  </a:lnTo>
                  <a:lnTo>
                    <a:pt x="67" y="187"/>
                  </a:lnTo>
                  <a:lnTo>
                    <a:pt x="67" y="163"/>
                  </a:lnTo>
                  <a:lnTo>
                    <a:pt x="60" y="163"/>
                  </a:lnTo>
                  <a:lnTo>
                    <a:pt x="0" y="187"/>
                  </a:lnTo>
                  <a:lnTo>
                    <a:pt x="19" y="205"/>
                  </a:lnTo>
                  <a:lnTo>
                    <a:pt x="19" y="229"/>
                  </a:lnTo>
                  <a:lnTo>
                    <a:pt x="43" y="241"/>
                  </a:lnTo>
                  <a:lnTo>
                    <a:pt x="78" y="247"/>
                  </a:lnTo>
                  <a:lnTo>
                    <a:pt x="102" y="229"/>
                  </a:lnTo>
                  <a:lnTo>
                    <a:pt x="108" y="271"/>
                  </a:lnTo>
                  <a:lnTo>
                    <a:pt x="84" y="277"/>
                  </a:lnTo>
                  <a:lnTo>
                    <a:pt x="78" y="289"/>
                  </a:lnTo>
                  <a:lnTo>
                    <a:pt x="67" y="295"/>
                  </a:lnTo>
                  <a:lnTo>
                    <a:pt x="48" y="283"/>
                  </a:lnTo>
                  <a:lnTo>
                    <a:pt x="36" y="307"/>
                  </a:lnTo>
                  <a:lnTo>
                    <a:pt x="6" y="337"/>
                  </a:lnTo>
                  <a:lnTo>
                    <a:pt x="24" y="367"/>
                  </a:lnTo>
                  <a:lnTo>
                    <a:pt x="19" y="379"/>
                  </a:lnTo>
                  <a:lnTo>
                    <a:pt x="43" y="403"/>
                  </a:lnTo>
                  <a:lnTo>
                    <a:pt x="72" y="403"/>
                  </a:lnTo>
                  <a:lnTo>
                    <a:pt x="84" y="421"/>
                  </a:lnTo>
                  <a:lnTo>
                    <a:pt x="78" y="433"/>
                  </a:lnTo>
                  <a:lnTo>
                    <a:pt x="84" y="451"/>
                  </a:lnTo>
                  <a:lnTo>
                    <a:pt x="108" y="439"/>
                  </a:lnTo>
                  <a:lnTo>
                    <a:pt x="132" y="463"/>
                  </a:lnTo>
                  <a:lnTo>
                    <a:pt x="168" y="445"/>
                  </a:lnTo>
                  <a:lnTo>
                    <a:pt x="156" y="469"/>
                  </a:lnTo>
                  <a:lnTo>
                    <a:pt x="156" y="493"/>
                  </a:lnTo>
                  <a:lnTo>
                    <a:pt x="108" y="529"/>
                  </a:lnTo>
                  <a:lnTo>
                    <a:pt x="91" y="553"/>
                  </a:lnTo>
                  <a:lnTo>
                    <a:pt x="72" y="553"/>
                  </a:lnTo>
                  <a:lnTo>
                    <a:pt x="43" y="577"/>
                  </a:lnTo>
                  <a:lnTo>
                    <a:pt x="12" y="583"/>
                  </a:lnTo>
                  <a:lnTo>
                    <a:pt x="0" y="595"/>
                  </a:lnTo>
                  <a:lnTo>
                    <a:pt x="12" y="601"/>
                  </a:lnTo>
                  <a:lnTo>
                    <a:pt x="72" y="577"/>
                  </a:lnTo>
                  <a:lnTo>
                    <a:pt x="108" y="559"/>
                  </a:lnTo>
                  <a:lnTo>
                    <a:pt x="180" y="511"/>
                  </a:lnTo>
                  <a:lnTo>
                    <a:pt x="235" y="451"/>
                  </a:lnTo>
                  <a:lnTo>
                    <a:pt x="240" y="439"/>
                  </a:lnTo>
                  <a:lnTo>
                    <a:pt x="222" y="439"/>
                  </a:lnTo>
                  <a:lnTo>
                    <a:pt x="276" y="361"/>
                  </a:lnTo>
                  <a:lnTo>
                    <a:pt x="288" y="355"/>
                  </a:lnTo>
                  <a:lnTo>
                    <a:pt x="288" y="367"/>
                  </a:lnTo>
                  <a:lnTo>
                    <a:pt x="270" y="379"/>
                  </a:lnTo>
                  <a:lnTo>
                    <a:pt x="264" y="415"/>
                  </a:lnTo>
                  <a:lnTo>
                    <a:pt x="276" y="409"/>
                  </a:lnTo>
                  <a:lnTo>
                    <a:pt x="264" y="421"/>
                  </a:lnTo>
                  <a:lnTo>
                    <a:pt x="270" y="427"/>
                  </a:lnTo>
                  <a:lnTo>
                    <a:pt x="307" y="403"/>
                  </a:lnTo>
                  <a:lnTo>
                    <a:pt x="324" y="397"/>
                  </a:lnTo>
                  <a:lnTo>
                    <a:pt x="331" y="379"/>
                  </a:lnTo>
                  <a:lnTo>
                    <a:pt x="324" y="367"/>
                  </a:lnTo>
                  <a:lnTo>
                    <a:pt x="361" y="361"/>
                  </a:lnTo>
                  <a:lnTo>
                    <a:pt x="404" y="385"/>
                  </a:lnTo>
                  <a:lnTo>
                    <a:pt x="439" y="373"/>
                  </a:lnTo>
                  <a:lnTo>
                    <a:pt x="457" y="379"/>
                  </a:lnTo>
                  <a:lnTo>
                    <a:pt x="481" y="379"/>
                  </a:lnTo>
                  <a:lnTo>
                    <a:pt x="548" y="409"/>
                  </a:lnTo>
                  <a:lnTo>
                    <a:pt x="559" y="421"/>
                  </a:lnTo>
                  <a:lnTo>
                    <a:pt x="577" y="445"/>
                  </a:lnTo>
                  <a:lnTo>
                    <a:pt x="613" y="469"/>
                  </a:lnTo>
                  <a:lnTo>
                    <a:pt x="625" y="481"/>
                  </a:lnTo>
                  <a:lnTo>
                    <a:pt x="668" y="505"/>
                  </a:lnTo>
                  <a:lnTo>
                    <a:pt x="709" y="487"/>
                  </a:lnTo>
                  <a:lnTo>
                    <a:pt x="709" y="463"/>
                  </a:lnTo>
                  <a:lnTo>
                    <a:pt x="697" y="439"/>
                  </a:lnTo>
                  <a:lnTo>
                    <a:pt x="679" y="433"/>
                  </a:lnTo>
                  <a:lnTo>
                    <a:pt x="661" y="433"/>
                  </a:lnTo>
                  <a:lnTo>
                    <a:pt x="637" y="415"/>
                  </a:lnTo>
                  <a:lnTo>
                    <a:pt x="613" y="397"/>
                  </a:lnTo>
                  <a:lnTo>
                    <a:pt x="565" y="349"/>
                  </a:lnTo>
                  <a:lnTo>
                    <a:pt x="553" y="355"/>
                  </a:lnTo>
                  <a:lnTo>
                    <a:pt x="541" y="373"/>
                  </a:lnTo>
                  <a:lnTo>
                    <a:pt x="529" y="385"/>
                  </a:lnTo>
                  <a:lnTo>
                    <a:pt x="487" y="361"/>
                  </a:lnTo>
                  <a:lnTo>
                    <a:pt x="487" y="349"/>
                  </a:lnTo>
                  <a:lnTo>
                    <a:pt x="452" y="361"/>
                  </a:lnTo>
                  <a:lnTo>
                    <a:pt x="439" y="301"/>
                  </a:lnTo>
                  <a:lnTo>
                    <a:pt x="409" y="169"/>
                  </a:lnTo>
                  <a:lnTo>
                    <a:pt x="385" y="79"/>
                  </a:lnTo>
                  <a:lnTo>
                    <a:pt x="373" y="36"/>
                  </a:lnTo>
                  <a:lnTo>
                    <a:pt x="336" y="18"/>
                  </a:lnTo>
                  <a:lnTo>
                    <a:pt x="318" y="30"/>
                  </a:lnTo>
                  <a:lnTo>
                    <a:pt x="259" y="18"/>
                  </a:lnTo>
                  <a:lnTo>
                    <a:pt x="240" y="24"/>
                  </a:lnTo>
                  <a:lnTo>
                    <a:pt x="222" y="18"/>
                  </a:lnTo>
                  <a:lnTo>
                    <a:pt x="222" y="12"/>
                  </a:lnTo>
                  <a:lnTo>
                    <a:pt x="168" y="0"/>
                  </a:lnTo>
                  <a:lnTo>
                    <a:pt x="163" y="12"/>
                  </a:lnTo>
                  <a:lnTo>
                    <a:pt x="132" y="12"/>
                  </a:lnTo>
                  <a:lnTo>
                    <a:pt x="108" y="30"/>
                  </a:lnTo>
                  <a:lnTo>
                    <a:pt x="91" y="48"/>
                  </a:lnTo>
                  <a:lnTo>
                    <a:pt x="84" y="67"/>
                  </a:lnTo>
                  <a:lnTo>
                    <a:pt x="72" y="79"/>
                  </a:lnTo>
                  <a:lnTo>
                    <a:pt x="48" y="79"/>
                  </a:lnTo>
                  <a:lnTo>
                    <a:pt x="36" y="9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0" fontAlgn="base" latinLnBrk="0" hangingPunct="0">
                <a:lnSpc>
                  <a:spcPct val="100000"/>
                </a:lnSpc>
                <a:spcBef>
                  <a:spcPct val="50000"/>
                </a:spcBef>
                <a:spcAft>
                  <a:spcPct val="0"/>
                </a:spcAft>
                <a:buClrTx/>
                <a:buSzTx/>
                <a:buFontTx/>
                <a:buNone/>
                <a:tabLst/>
                <a:defRPr/>
              </a:pPr>
              <a:endParaRPr kumimoji="0" lang="fr-FR" sz="1200" b="0" i="0" u="none" strike="noStrike" kern="0" cap="none" spc="0" normalizeH="0" baseline="0" noProof="0" dirty="0">
                <a:ln>
                  <a:noFill/>
                </a:ln>
                <a:solidFill>
                  <a:srgbClr val="000000"/>
                </a:solidFill>
                <a:effectLst/>
                <a:uLnTx/>
                <a:uFillTx/>
                <a:latin typeface="Times New Roman" panose="02020603050405020304" pitchFamily="18" charset="0"/>
              </a:endParaRPr>
            </a:p>
          </p:txBody>
        </p:sp>
        <p:sp>
          <p:nvSpPr>
            <p:cNvPr id="69" name="Text Box 74">
              <a:extLst>
                <a:ext uri="{FF2B5EF4-FFF2-40B4-BE49-F238E27FC236}">
                  <a16:creationId xmlns:a16="http://schemas.microsoft.com/office/drawing/2014/main" id="{1A62D449-DE70-40AB-AC34-F917130652A7}"/>
                </a:ext>
              </a:extLst>
            </p:cNvPr>
            <p:cNvSpPr txBox="1">
              <a:spLocks noChangeArrowheads="1"/>
            </p:cNvSpPr>
            <p:nvPr/>
          </p:nvSpPr>
          <p:spPr bwMode="gray">
            <a:xfrm>
              <a:off x="1248" y="3648"/>
              <a:ext cx="222" cy="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spAutoFit/>
            </a:bodyPr>
            <a:lstStyle/>
            <a:p>
              <a:pPr marL="0" marR="0" lvl="0" indent="0" defTabSz="914400" eaLnBrk="0" fontAlgn="base" latinLnBrk="0" hangingPunct="0">
                <a:lnSpc>
                  <a:spcPct val="90000"/>
                </a:lnSpc>
                <a:spcBef>
                  <a:spcPct val="10000"/>
                </a:spcBef>
                <a:spcAft>
                  <a:spcPct val="0"/>
                </a:spcAft>
                <a:buClrTx/>
                <a:buSzTx/>
                <a:buFontTx/>
                <a:buNone/>
                <a:tabLst/>
                <a:defRPr/>
              </a:pPr>
              <a:r>
                <a:rPr kumimoji="0" lang="en-GB" altLang="fr-FR" sz="600" b="1" i="0" u="none" strike="noStrike" kern="0" cap="none" spc="0" normalizeH="0" baseline="0" noProof="0" dirty="0">
                  <a:ln>
                    <a:noFill/>
                  </a:ln>
                  <a:solidFill>
                    <a:srgbClr val="000000"/>
                  </a:solidFill>
                  <a:effectLst/>
                  <a:uLnTx/>
                  <a:uFillTx/>
                  <a:latin typeface="EYInterstate Light" panose="02000506000000020004" pitchFamily="2" charset="0"/>
                </a:rPr>
                <a:t>Hawaii</a:t>
              </a:r>
            </a:p>
          </p:txBody>
        </p:sp>
        <p:sp>
          <p:nvSpPr>
            <p:cNvPr id="70" name="Text Box 75">
              <a:extLst>
                <a:ext uri="{FF2B5EF4-FFF2-40B4-BE49-F238E27FC236}">
                  <a16:creationId xmlns:a16="http://schemas.microsoft.com/office/drawing/2014/main" id="{39C7A9B4-DABD-4550-B0CE-EB6B7D840D3F}"/>
                </a:ext>
              </a:extLst>
            </p:cNvPr>
            <p:cNvSpPr txBox="1">
              <a:spLocks noChangeArrowheads="1"/>
            </p:cNvSpPr>
            <p:nvPr/>
          </p:nvSpPr>
          <p:spPr bwMode="gray">
            <a:xfrm>
              <a:off x="1839" y="3072"/>
              <a:ext cx="222" cy="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spAutoFit/>
            </a:bodyPr>
            <a:lstStyle/>
            <a:p>
              <a:pPr marL="0" marR="0" lvl="0" indent="0" algn="r" defTabSz="914400" eaLnBrk="0" fontAlgn="base" latinLnBrk="0" hangingPunct="0">
                <a:lnSpc>
                  <a:spcPct val="90000"/>
                </a:lnSpc>
                <a:spcBef>
                  <a:spcPct val="10000"/>
                </a:spcBef>
                <a:spcAft>
                  <a:spcPct val="0"/>
                </a:spcAft>
                <a:buClrTx/>
                <a:buSzTx/>
                <a:buFontTx/>
                <a:buNone/>
                <a:tabLst/>
                <a:defRPr/>
              </a:pPr>
              <a:r>
                <a:rPr kumimoji="0" lang="en-GB" altLang="fr-FR" sz="600" b="1" i="0" u="none" strike="noStrike" kern="0" cap="none" spc="0" normalizeH="0" baseline="0" noProof="0" dirty="0">
                  <a:ln>
                    <a:noFill/>
                  </a:ln>
                  <a:solidFill>
                    <a:srgbClr val="000000"/>
                  </a:solidFill>
                  <a:effectLst/>
                  <a:uLnTx/>
                  <a:uFillTx/>
                  <a:latin typeface="EYInterstate Light" panose="02000506000000020004" pitchFamily="2" charset="0"/>
                </a:rPr>
                <a:t>Alaska</a:t>
              </a:r>
            </a:p>
          </p:txBody>
        </p:sp>
      </p:grpSp>
      <p:grpSp>
        <p:nvGrpSpPr>
          <p:cNvPr id="82" name="Group 81">
            <a:extLst>
              <a:ext uri="{FF2B5EF4-FFF2-40B4-BE49-F238E27FC236}">
                <a16:creationId xmlns:a16="http://schemas.microsoft.com/office/drawing/2014/main" id="{AFB724E9-FDBA-4BD8-B750-E33C12A70AA5}"/>
              </a:ext>
            </a:extLst>
          </p:cNvPr>
          <p:cNvGrpSpPr/>
          <p:nvPr/>
        </p:nvGrpSpPr>
        <p:grpSpPr>
          <a:xfrm>
            <a:off x="214646" y="2234457"/>
            <a:ext cx="5828745" cy="640324"/>
            <a:chOff x="434793" y="1477469"/>
            <a:chExt cx="5741446" cy="640324"/>
          </a:xfrm>
        </p:grpSpPr>
        <p:grpSp>
          <p:nvGrpSpPr>
            <p:cNvPr id="81" name="Group 80">
              <a:extLst>
                <a:ext uri="{FF2B5EF4-FFF2-40B4-BE49-F238E27FC236}">
                  <a16:creationId xmlns:a16="http://schemas.microsoft.com/office/drawing/2014/main" id="{285659F7-3D2E-42A9-921A-5117E146173A}"/>
                </a:ext>
              </a:extLst>
            </p:cNvPr>
            <p:cNvGrpSpPr/>
            <p:nvPr/>
          </p:nvGrpSpPr>
          <p:grpSpPr>
            <a:xfrm>
              <a:off x="434793" y="1477469"/>
              <a:ext cx="5741446" cy="242285"/>
              <a:chOff x="434793" y="1477469"/>
              <a:chExt cx="5741446" cy="242285"/>
            </a:xfrm>
          </p:grpSpPr>
          <p:sp>
            <p:nvSpPr>
              <p:cNvPr id="79" name="Rectangle 78">
                <a:extLst>
                  <a:ext uri="{FF2B5EF4-FFF2-40B4-BE49-F238E27FC236}">
                    <a16:creationId xmlns:a16="http://schemas.microsoft.com/office/drawing/2014/main" id="{AAE477A4-35C8-46B5-B74E-D656616A065F}"/>
                  </a:ext>
                </a:extLst>
              </p:cNvPr>
              <p:cNvSpPr/>
              <p:nvPr/>
            </p:nvSpPr>
            <p:spPr>
              <a:xfrm>
                <a:off x="434793" y="1477469"/>
                <a:ext cx="242285" cy="2422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2A894F24-DB55-4D38-86B8-F9DA0EA7B564}"/>
                  </a:ext>
                </a:extLst>
              </p:cNvPr>
              <p:cNvSpPr txBox="1"/>
              <p:nvPr/>
            </p:nvSpPr>
            <p:spPr>
              <a:xfrm>
                <a:off x="727412" y="1490888"/>
                <a:ext cx="5448827" cy="215444"/>
              </a:xfrm>
              <a:prstGeom prst="rect">
                <a:avLst/>
              </a:prstGeom>
              <a:noFill/>
            </p:spPr>
            <p:txBody>
              <a:bodyPr vert="horz" wrap="square" lIns="0" tIns="0" rIns="0" bIns="0" rtlCol="0" anchor="t">
                <a:spAutoFit/>
              </a:bodyPr>
              <a:lstStyle/>
              <a:p>
                <a:pPr algn="l"/>
                <a:r>
                  <a:rPr lang="en-US" sz="1400" dirty="0">
                    <a:latin typeface="Verlag Book" pitchFamily="2" charset="0"/>
                    <a:ea typeface="Arial" charset="0"/>
                    <a:cs typeface="Arial" charset="0"/>
                  </a:rPr>
                  <a:t>Virginia</a:t>
                </a:r>
              </a:p>
            </p:txBody>
          </p:sp>
        </p:grpSp>
        <p:grpSp>
          <p:nvGrpSpPr>
            <p:cNvPr id="2" name="Group 1">
              <a:extLst>
                <a:ext uri="{FF2B5EF4-FFF2-40B4-BE49-F238E27FC236}">
                  <a16:creationId xmlns:a16="http://schemas.microsoft.com/office/drawing/2014/main" id="{C77B1077-D139-4850-9483-ADD2109F3F22}"/>
                </a:ext>
              </a:extLst>
            </p:cNvPr>
            <p:cNvGrpSpPr/>
            <p:nvPr/>
          </p:nvGrpSpPr>
          <p:grpSpPr>
            <a:xfrm>
              <a:off x="434793" y="1875508"/>
              <a:ext cx="5099924" cy="242285"/>
              <a:chOff x="434793" y="1875508"/>
              <a:chExt cx="5099924" cy="242285"/>
            </a:xfrm>
          </p:grpSpPr>
          <p:sp>
            <p:nvSpPr>
              <p:cNvPr id="87" name="Rectangle 86">
                <a:extLst>
                  <a:ext uri="{FF2B5EF4-FFF2-40B4-BE49-F238E27FC236}">
                    <a16:creationId xmlns:a16="http://schemas.microsoft.com/office/drawing/2014/main" id="{E292CA9D-E8C1-475B-B77E-B68DF1A22A73}"/>
                  </a:ext>
                </a:extLst>
              </p:cNvPr>
              <p:cNvSpPr/>
              <p:nvPr/>
            </p:nvSpPr>
            <p:spPr>
              <a:xfrm>
                <a:off x="434793" y="1875508"/>
                <a:ext cx="242285" cy="2422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88">
                <a:extLst>
                  <a:ext uri="{FF2B5EF4-FFF2-40B4-BE49-F238E27FC236}">
                    <a16:creationId xmlns:a16="http://schemas.microsoft.com/office/drawing/2014/main" id="{E8E1A298-8652-40F6-A6E0-EA0BEB4109B1}"/>
                  </a:ext>
                </a:extLst>
              </p:cNvPr>
              <p:cNvSpPr txBox="1"/>
              <p:nvPr/>
            </p:nvSpPr>
            <p:spPr>
              <a:xfrm>
                <a:off x="727413" y="1888928"/>
                <a:ext cx="4807304" cy="215444"/>
              </a:xfrm>
              <a:prstGeom prst="rect">
                <a:avLst/>
              </a:prstGeom>
              <a:noFill/>
            </p:spPr>
            <p:txBody>
              <a:bodyPr vert="horz" wrap="square" lIns="0" tIns="0" rIns="0" bIns="0" rtlCol="0" anchor="t">
                <a:spAutoFit/>
              </a:bodyPr>
              <a:lstStyle/>
              <a:p>
                <a:pPr algn="l"/>
                <a:r>
                  <a:rPr lang="en-US" sz="1400" dirty="0">
                    <a:latin typeface="Verlag Book" pitchFamily="2" charset="0"/>
                    <a:ea typeface="Arial" charset="0"/>
                    <a:cs typeface="Arial" charset="0"/>
                  </a:rPr>
                  <a:t>Competitor States</a:t>
                </a:r>
              </a:p>
            </p:txBody>
          </p:sp>
        </p:grpSp>
      </p:grpSp>
      <p:sp>
        <p:nvSpPr>
          <p:cNvPr id="4" name="TextBox 3">
            <a:extLst>
              <a:ext uri="{FF2B5EF4-FFF2-40B4-BE49-F238E27FC236}">
                <a16:creationId xmlns:a16="http://schemas.microsoft.com/office/drawing/2014/main" id="{6DAE42A6-02E5-ABB0-8232-2AFE0BB76C98}"/>
              </a:ext>
            </a:extLst>
          </p:cNvPr>
          <p:cNvSpPr txBox="1"/>
          <p:nvPr/>
        </p:nvSpPr>
        <p:spPr>
          <a:xfrm>
            <a:off x="7440920" y="3802417"/>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19</a:t>
            </a:r>
          </a:p>
        </p:txBody>
      </p:sp>
      <p:sp>
        <p:nvSpPr>
          <p:cNvPr id="84" name="TextBox 83">
            <a:extLst>
              <a:ext uri="{FF2B5EF4-FFF2-40B4-BE49-F238E27FC236}">
                <a16:creationId xmlns:a16="http://schemas.microsoft.com/office/drawing/2014/main" id="{12B23362-5A84-5E1D-7884-D8AEB6DA22C1}"/>
              </a:ext>
            </a:extLst>
          </p:cNvPr>
          <p:cNvSpPr txBox="1"/>
          <p:nvPr/>
        </p:nvSpPr>
        <p:spPr>
          <a:xfrm>
            <a:off x="7448857" y="4095876"/>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11</a:t>
            </a:r>
          </a:p>
        </p:txBody>
      </p:sp>
      <p:sp>
        <p:nvSpPr>
          <p:cNvPr id="85" name="TextBox 84">
            <a:extLst>
              <a:ext uri="{FF2B5EF4-FFF2-40B4-BE49-F238E27FC236}">
                <a16:creationId xmlns:a16="http://schemas.microsoft.com/office/drawing/2014/main" id="{FBF40091-9D32-7B8C-4A11-1EE82789FF11}"/>
              </a:ext>
            </a:extLst>
          </p:cNvPr>
          <p:cNvSpPr txBox="1"/>
          <p:nvPr/>
        </p:nvSpPr>
        <p:spPr>
          <a:xfrm>
            <a:off x="6494974" y="4170783"/>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15</a:t>
            </a:r>
          </a:p>
        </p:txBody>
      </p:sp>
      <p:sp>
        <p:nvSpPr>
          <p:cNvPr id="92" name="TextBox 91">
            <a:extLst>
              <a:ext uri="{FF2B5EF4-FFF2-40B4-BE49-F238E27FC236}">
                <a16:creationId xmlns:a16="http://schemas.microsoft.com/office/drawing/2014/main" id="{209512EA-B165-FAB5-4A54-0596B023F519}"/>
              </a:ext>
            </a:extLst>
          </p:cNvPr>
          <p:cNvSpPr txBox="1"/>
          <p:nvPr/>
        </p:nvSpPr>
        <p:spPr>
          <a:xfrm>
            <a:off x="4875591" y="4935334"/>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3</a:t>
            </a:r>
          </a:p>
        </p:txBody>
      </p:sp>
      <p:sp>
        <p:nvSpPr>
          <p:cNvPr id="93" name="TextBox 92">
            <a:extLst>
              <a:ext uri="{FF2B5EF4-FFF2-40B4-BE49-F238E27FC236}">
                <a16:creationId xmlns:a16="http://schemas.microsoft.com/office/drawing/2014/main" id="{2D6978D0-7F94-4F90-4720-4138920A5D20}"/>
              </a:ext>
            </a:extLst>
          </p:cNvPr>
          <p:cNvSpPr txBox="1"/>
          <p:nvPr/>
        </p:nvSpPr>
        <p:spPr>
          <a:xfrm>
            <a:off x="6974828" y="4605900"/>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10</a:t>
            </a:r>
          </a:p>
        </p:txBody>
      </p:sp>
      <p:sp>
        <p:nvSpPr>
          <p:cNvPr id="94" name="TextBox 93">
            <a:extLst>
              <a:ext uri="{FF2B5EF4-FFF2-40B4-BE49-F238E27FC236}">
                <a16:creationId xmlns:a16="http://schemas.microsoft.com/office/drawing/2014/main" id="{3C95F75A-8FA9-7D67-D9B5-63A347CBE9ED}"/>
              </a:ext>
            </a:extLst>
          </p:cNvPr>
          <p:cNvSpPr txBox="1"/>
          <p:nvPr/>
        </p:nvSpPr>
        <p:spPr>
          <a:xfrm>
            <a:off x="7307517" y="5178180"/>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2</a:t>
            </a:r>
          </a:p>
        </p:txBody>
      </p:sp>
      <p:sp>
        <p:nvSpPr>
          <p:cNvPr id="95" name="TextBox 94">
            <a:extLst>
              <a:ext uri="{FF2B5EF4-FFF2-40B4-BE49-F238E27FC236}">
                <a16:creationId xmlns:a16="http://schemas.microsoft.com/office/drawing/2014/main" id="{F3441D1A-721D-DE4E-9B0F-96FDA89AF05C}"/>
              </a:ext>
            </a:extLst>
          </p:cNvPr>
          <p:cNvSpPr txBox="1"/>
          <p:nvPr/>
        </p:nvSpPr>
        <p:spPr>
          <a:xfrm>
            <a:off x="7267121" y="4381626"/>
            <a:ext cx="318182" cy="246221"/>
          </a:xfrm>
          <a:prstGeom prst="rect">
            <a:avLst/>
          </a:prstGeom>
        </p:spPr>
        <p:txBody>
          <a:bodyPr vert="horz" wrap="square" lIns="0" tIns="0" rIns="0" bIns="0" rtlCol="0" anchor="t">
            <a:spAutoFit/>
          </a:bodyPr>
          <a:lstStyle/>
          <a:p>
            <a:pPr algn="l"/>
            <a:r>
              <a:rPr lang="en-US" sz="1600" b="1" dirty="0">
                <a:solidFill>
                  <a:schemeClr val="bg1"/>
                </a:solidFill>
                <a:latin typeface="Verlag Book" pitchFamily="2" charset="0"/>
                <a:ea typeface="Arial" charset="0"/>
                <a:cs typeface="Arial" charset="0"/>
              </a:rPr>
              <a:t>#12</a:t>
            </a:r>
          </a:p>
        </p:txBody>
      </p:sp>
      <p:sp>
        <p:nvSpPr>
          <p:cNvPr id="99" name="Text Placeholder 4">
            <a:extLst>
              <a:ext uri="{FF2B5EF4-FFF2-40B4-BE49-F238E27FC236}">
                <a16:creationId xmlns:a16="http://schemas.microsoft.com/office/drawing/2014/main" id="{62E1AC78-8EBC-990E-AAB1-0265E87C4F66}"/>
              </a:ext>
            </a:extLst>
          </p:cNvPr>
          <p:cNvSpPr txBox="1">
            <a:spLocks/>
          </p:cNvSpPr>
          <p:nvPr/>
        </p:nvSpPr>
        <p:spPr>
          <a:xfrm>
            <a:off x="559072" y="1312307"/>
            <a:ext cx="3760645" cy="399750"/>
          </a:xfrm>
          <a:prstGeom prst="rect">
            <a:avLst/>
          </a:prstGeom>
          <a:blipFill dpi="0" rotWithShape="1">
            <a:blip r:embed="rId8"/>
            <a:srcRect/>
            <a:tile tx="0" ty="0" sx="100000" sy="100000" flip="xy" algn="b"/>
          </a:blipFill>
          <a:effectLst/>
        </p:spPr>
        <p:txBody>
          <a:bodyPr vert="horz" wrap="none" lIns="0" tIns="0" rIns="0" bIns="54000" rtlCol="0" anchor="b">
            <a:spAutoFit/>
          </a:bodyPr>
          <a:lstStyle>
            <a:lvl1pPr marL="3175" marR="0" indent="0" algn="l" defTabSz="914400" rtl="0" eaLnBrk="1" fontAlgn="auto" latinLnBrk="0" hangingPunct="1">
              <a:lnSpc>
                <a:spcPct val="90000"/>
              </a:lnSpc>
              <a:spcBef>
                <a:spcPts val="100"/>
              </a:spcBef>
              <a:spcAft>
                <a:spcPts val="0"/>
              </a:spcAft>
              <a:buClrTx/>
              <a:buSzTx/>
              <a:buFont typeface="Wingdings" pitchFamily="2" charset="2"/>
              <a:buNone/>
              <a:tabLst/>
              <a:defRPr sz="1200" b="1" kern="1200">
                <a:solidFill>
                  <a:schemeClr val="tx1"/>
                </a:solidFill>
                <a:latin typeface="+mn-lt"/>
                <a:ea typeface="+mn-ea"/>
                <a:cs typeface="+mn-cs"/>
              </a:defRPr>
            </a:lvl1pPr>
            <a:lvl2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2pPr>
            <a:lvl3pPr marL="3175" indent="0" algn="l" defTabSz="914400" rtl="0" eaLnBrk="1" latinLnBrk="0" hangingPunct="1">
              <a:lnSpc>
                <a:spcPct val="90000"/>
              </a:lnSpc>
              <a:spcBef>
                <a:spcPts val="0"/>
              </a:spcBef>
              <a:spcAft>
                <a:spcPts val="300"/>
              </a:spcAft>
              <a:buFont typeface="Wingdings" pitchFamily="2" charset="2"/>
              <a:buNone/>
              <a:tabLst/>
              <a:defRPr sz="1200" kern="1200">
                <a:solidFill>
                  <a:schemeClr val="tx1"/>
                </a:solidFill>
                <a:latin typeface="+mn-lt"/>
                <a:ea typeface="+mn-ea"/>
                <a:cs typeface="+mn-cs"/>
              </a:defRPr>
            </a:lvl3pPr>
            <a:lvl4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5pPr>
            <a:lvl6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6pPr>
            <a:lvl7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7pPr>
            <a:lvl8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8pPr>
            <a:lvl9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9pPr>
          </a:lstStyle>
          <a:p>
            <a:r>
              <a:rPr lang="en-US" dirty="0">
                <a:latin typeface="Verlag Book" pitchFamily="2" charset="0"/>
              </a:rPr>
              <a:t>Employment growth forecast rankings among competitor states</a:t>
            </a:r>
          </a:p>
          <a:p>
            <a:r>
              <a:rPr lang="en-US" b="0" dirty="0">
                <a:latin typeface="Verlag Book" pitchFamily="2" charset="0"/>
              </a:rPr>
              <a:t>2022-2032 (employment percentage growth)</a:t>
            </a:r>
          </a:p>
        </p:txBody>
      </p:sp>
    </p:spTree>
    <p:extLst>
      <p:ext uri="{BB962C8B-B14F-4D97-AF65-F5344CB8AC3E}">
        <p14:creationId xmlns:p14="http://schemas.microsoft.com/office/powerpoint/2010/main" val="402135732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3" name="Object 82" hidden="1">
            <a:extLst>
              <a:ext uri="{FF2B5EF4-FFF2-40B4-BE49-F238E27FC236}">
                <a16:creationId xmlns:a16="http://schemas.microsoft.com/office/drawing/2014/main" id="{E1084622-6F0F-A30B-B5C5-3280A732496F}"/>
              </a:ext>
            </a:extLst>
          </p:cNvPr>
          <p:cNvGraphicFramePr>
            <a:graphicFrameLocks noChangeAspect="1"/>
          </p:cNvGraphicFramePr>
          <p:nvPr>
            <p:custDataLst>
              <p:tags r:id="rId2"/>
            </p:custDataLst>
            <p:extLst>
              <p:ext uri="{D42A27DB-BD31-4B8C-83A1-F6EECF244321}">
                <p14:modId xmlns:p14="http://schemas.microsoft.com/office/powerpoint/2010/main" val="242472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3" name="Object 82" hidden="1">
                        <a:extLst>
                          <a:ext uri="{FF2B5EF4-FFF2-40B4-BE49-F238E27FC236}">
                            <a16:creationId xmlns:a16="http://schemas.microsoft.com/office/drawing/2014/main" id="{E1084622-6F0F-A30B-B5C5-3280A73249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Subtitle 8">
            <a:extLst>
              <a:ext uri="{FF2B5EF4-FFF2-40B4-BE49-F238E27FC236}">
                <a16:creationId xmlns:a16="http://schemas.microsoft.com/office/drawing/2014/main" id="{B6B8C041-3061-37F7-68FE-4AA402720C9A}"/>
              </a:ext>
            </a:extLst>
          </p:cNvPr>
          <p:cNvSpPr>
            <a:spLocks noGrp="1"/>
          </p:cNvSpPr>
          <p:nvPr>
            <p:ph type="subTitle" sz="quarter" idx="1000"/>
          </p:nvPr>
        </p:nvSpPr>
        <p:spPr>
          <a:xfrm>
            <a:off x="350040" y="6097952"/>
            <a:ext cx="6117047" cy="505508"/>
          </a:xfrm>
        </p:spPr>
        <p:txBody>
          <a:bodyPr/>
          <a:lstStyle/>
          <a:p>
            <a:pPr marL="6350" marR="0" lvl="0" indent="-1588" algn="l" defTabSz="914400" rtl="0" eaLnBrk="1" fontAlgn="auto" latinLnBrk="0" hangingPunct="1">
              <a:lnSpc>
                <a:spcPct val="90000"/>
              </a:lnSpc>
              <a:spcBef>
                <a:spcPts val="75"/>
              </a:spcBef>
              <a:spcAft>
                <a:spcPts val="75"/>
              </a:spcAft>
              <a:buClrTx/>
              <a:buSzPct val="100000"/>
              <a:buFontTx/>
              <a:buNone/>
              <a:tabLst/>
              <a:defRPr/>
            </a:pPr>
            <a:r>
              <a:rPr lang="en-US" dirty="0">
                <a:latin typeface="Verlag Book" pitchFamily="2" charset="0"/>
              </a:rPr>
              <a:t>*Figures in parentheses represent respective net domestic migration ranks for each state</a:t>
            </a:r>
            <a:endParaRPr lang="en-US" sz="1050" dirty="0">
              <a:latin typeface="Verlag Book" pitchFamily="2" charset="0"/>
            </a:endParaRPr>
          </a:p>
        </p:txBody>
      </p:sp>
      <p:sp>
        <p:nvSpPr>
          <p:cNvPr id="5" name="Slide Number Placeholder 4">
            <a:extLst>
              <a:ext uri="{FF2B5EF4-FFF2-40B4-BE49-F238E27FC236}">
                <a16:creationId xmlns:a16="http://schemas.microsoft.com/office/drawing/2014/main" id="{94CFD307-6DAB-473D-AF83-06BB85B99DE9}"/>
              </a:ext>
            </a:extLst>
          </p:cNvPr>
          <p:cNvSpPr>
            <a:spLocks noGrp="1"/>
          </p:cNvSpPr>
          <p:nvPr>
            <p:ph type="sldNum" sz="quarter" idx="4294967295"/>
          </p:nvPr>
        </p:nvSpPr>
        <p:spPr>
          <a:xfrm>
            <a:off x="8793960" y="6516147"/>
            <a:ext cx="350837" cy="174625"/>
          </a:xfrm>
        </p:spPr>
        <p:txBody>
          <a:bodyPr/>
          <a:lstStyle/>
          <a:p>
            <a:pPr marL="12700">
              <a:buFont typeface="Arial" panose="020B0604020202020204" pitchFamily="34" charset="0"/>
              <a:buNone/>
            </a:pPr>
            <a:fld id="{078C017C-E1B9-8443-B047-B08AAA027B45}" type="slidenum">
              <a:rPr lang="en-US" smtClean="0">
                <a:latin typeface="Verlag Book" pitchFamily="2" charset="0"/>
              </a:rPr>
              <a:pPr marL="12700">
                <a:buFont typeface="Arial" panose="020B0604020202020204" pitchFamily="34" charset="0"/>
                <a:buNone/>
              </a:pPr>
              <a:t>5</a:t>
            </a:fld>
            <a:endParaRPr lang="en-US" sz="900" b="1" dirty="0">
              <a:solidFill>
                <a:schemeClr val="accent1"/>
              </a:solidFill>
              <a:latin typeface="Verlag Book" pitchFamily="2" charset="0"/>
            </a:endParaRPr>
          </a:p>
        </p:txBody>
      </p:sp>
      <p:pic>
        <p:nvPicPr>
          <p:cNvPr id="20" name="Picture 19">
            <a:extLst>
              <a:ext uri="{FF2B5EF4-FFF2-40B4-BE49-F238E27FC236}">
                <a16:creationId xmlns:a16="http://schemas.microsoft.com/office/drawing/2014/main" id="{624139C6-5A46-0ACB-A33B-42F3C9ECA59B}"/>
              </a:ext>
            </a:extLst>
          </p:cNvPr>
          <p:cNvPicPr>
            <a:picLocks noChangeAspect="1"/>
          </p:cNvPicPr>
          <p:nvPr/>
        </p:nvPicPr>
        <p:blipFill rotWithShape="1">
          <a:blip r:embed="rId8"/>
          <a:srcRect l="51314" t="61154" r="1146" b="12692"/>
          <a:stretch/>
        </p:blipFill>
        <p:spPr>
          <a:xfrm>
            <a:off x="1379124" y="3621456"/>
            <a:ext cx="6867621" cy="2046526"/>
          </a:xfrm>
          <a:prstGeom prst="rect">
            <a:avLst/>
          </a:prstGeom>
        </p:spPr>
      </p:pic>
      <p:sp>
        <p:nvSpPr>
          <p:cNvPr id="21" name="Title 2">
            <a:extLst>
              <a:ext uri="{FF2B5EF4-FFF2-40B4-BE49-F238E27FC236}">
                <a16:creationId xmlns:a16="http://schemas.microsoft.com/office/drawing/2014/main" id="{D13524F4-34F2-2BC1-29BB-4A771AD734E3}"/>
              </a:ext>
            </a:extLst>
          </p:cNvPr>
          <p:cNvSpPr txBox="1">
            <a:spLocks/>
          </p:cNvSpPr>
          <p:nvPr/>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t>Competitor states have experienced domestic migration gains from 2014-2021*</a:t>
            </a:r>
          </a:p>
        </p:txBody>
      </p:sp>
      <p:pic>
        <p:nvPicPr>
          <p:cNvPr id="24" name="Picture 23">
            <a:extLst>
              <a:ext uri="{FF2B5EF4-FFF2-40B4-BE49-F238E27FC236}">
                <a16:creationId xmlns:a16="http://schemas.microsoft.com/office/drawing/2014/main" id="{089F0387-795E-7736-338D-8C6B41276B27}"/>
              </a:ext>
            </a:extLst>
          </p:cNvPr>
          <p:cNvPicPr>
            <a:picLocks noChangeAspect="1"/>
          </p:cNvPicPr>
          <p:nvPr/>
        </p:nvPicPr>
        <p:blipFill rotWithShape="1">
          <a:blip r:embed="rId8"/>
          <a:srcRect l="16146" t="61154" r="48394" b="12692"/>
          <a:stretch/>
        </p:blipFill>
        <p:spPr>
          <a:xfrm>
            <a:off x="1836699" y="1443156"/>
            <a:ext cx="5720867" cy="2285505"/>
          </a:xfrm>
          <a:prstGeom prst="rect">
            <a:avLst/>
          </a:prstGeom>
        </p:spPr>
      </p:pic>
    </p:spTree>
    <p:extLst>
      <p:ext uri="{BB962C8B-B14F-4D97-AF65-F5344CB8AC3E}">
        <p14:creationId xmlns:p14="http://schemas.microsoft.com/office/powerpoint/2010/main" val="2373518704"/>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0546E54-0B83-D8F6-623B-E1C158DBD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ct 18" hidden="1">
                        <a:extLst>
                          <a:ext uri="{FF2B5EF4-FFF2-40B4-BE49-F238E27FC236}">
                            <a16:creationId xmlns:a16="http://schemas.microsoft.com/office/drawing/2014/main" id="{F0546E54-0B83-D8F6-623B-E1C158DB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Box 33">
            <a:extLst>
              <a:ext uri="{FF2B5EF4-FFF2-40B4-BE49-F238E27FC236}">
                <a16:creationId xmlns:a16="http://schemas.microsoft.com/office/drawing/2014/main" id="{12803A7B-6AA4-18BD-B125-37DC56557618}"/>
              </a:ext>
            </a:extLst>
          </p:cNvPr>
          <p:cNvSpPr txBox="1"/>
          <p:nvPr/>
        </p:nvSpPr>
        <p:spPr>
          <a:xfrm>
            <a:off x="1785501" y="3991231"/>
            <a:ext cx="5572998" cy="738664"/>
          </a:xfrm>
          <a:prstGeom prst="rect">
            <a:avLst/>
          </a:prstGeom>
        </p:spPr>
        <p:txBody>
          <a:bodyPr vert="horz" wrap="square" lIns="0" tIns="0" rIns="0" bIns="0" rtlCol="0" anchor="t">
            <a:spAutoFit/>
          </a:bodyPr>
          <a:lstStyle/>
          <a:p>
            <a:pPr algn="ctr"/>
            <a:r>
              <a:rPr lang="en-US" sz="2400" b="1" dirty="0">
                <a:solidFill>
                  <a:schemeClr val="bg1"/>
                </a:solidFill>
                <a:latin typeface="Verlag Book" pitchFamily="2" charset="0"/>
                <a:ea typeface="Arial" charset="0"/>
                <a:cs typeface="Arial" charset="0"/>
              </a:rPr>
              <a:t>Comprehensive Economic Development Policy for the Youngkin Administration</a:t>
            </a:r>
          </a:p>
        </p:txBody>
      </p:sp>
      <p:sp>
        <p:nvSpPr>
          <p:cNvPr id="2" name="Rectangle 1">
            <a:extLst>
              <a:ext uri="{FF2B5EF4-FFF2-40B4-BE49-F238E27FC236}">
                <a16:creationId xmlns:a16="http://schemas.microsoft.com/office/drawing/2014/main" id="{5D0C5652-0AF5-CA32-EE60-E0F8EEAAE565}"/>
              </a:ext>
            </a:extLst>
          </p:cNvPr>
          <p:cNvSpPr/>
          <p:nvPr/>
        </p:nvSpPr>
        <p:spPr>
          <a:xfrm>
            <a:off x="-4" y="0"/>
            <a:ext cx="7019929" cy="6858000"/>
          </a:xfrm>
          <a:prstGeom prst="rect">
            <a:avLst/>
          </a:prstGeom>
          <a:pattFill prst="wdUpDiag">
            <a:fgClr>
              <a:schemeClr val="tx2">
                <a:lumMod val="75000"/>
                <a:lumOff val="25000"/>
              </a:schemeClr>
            </a:fgClr>
            <a:bgClr>
              <a:schemeClr val="accent1">
                <a:lumMod val="90000"/>
                <a:lumOff val="1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E4B7990E-9015-87F9-408E-A578B56C6656}"/>
              </a:ext>
            </a:extLst>
          </p:cNvPr>
          <p:cNvCxnSpPr>
            <a:cxnSpLocks/>
          </p:cNvCxnSpPr>
          <p:nvPr/>
        </p:nvCxnSpPr>
        <p:spPr>
          <a:xfrm rot="5400000">
            <a:off x="3636792" y="3428867"/>
            <a:ext cx="6858000" cy="0"/>
          </a:xfrm>
          <a:prstGeom prst="line">
            <a:avLst/>
          </a:prstGeom>
          <a:ln w="38100">
            <a:solidFill>
              <a:srgbClr val="B52C19"/>
            </a:solidFill>
          </a:ln>
        </p:spPr>
        <p:style>
          <a:lnRef idx="1">
            <a:schemeClr val="accent1"/>
          </a:lnRef>
          <a:fillRef idx="0">
            <a:schemeClr val="accent1"/>
          </a:fillRef>
          <a:effectRef idx="0">
            <a:schemeClr val="accent1"/>
          </a:effectRef>
          <a:fontRef idx="minor">
            <a:schemeClr val="tx1"/>
          </a:fontRef>
        </p:style>
      </p:cxnSp>
      <p:sp>
        <p:nvSpPr>
          <p:cNvPr id="5" name="Title 15">
            <a:extLst>
              <a:ext uri="{FF2B5EF4-FFF2-40B4-BE49-F238E27FC236}">
                <a16:creationId xmlns:a16="http://schemas.microsoft.com/office/drawing/2014/main" id="{85EDB4D3-DEA2-8501-79FC-1BF1F8C2DC0E}"/>
              </a:ext>
            </a:extLst>
          </p:cNvPr>
          <p:cNvSpPr txBox="1">
            <a:spLocks/>
          </p:cNvSpPr>
          <p:nvPr/>
        </p:nvSpPr>
        <p:spPr>
          <a:xfrm>
            <a:off x="1027523" y="2948100"/>
            <a:ext cx="5745564" cy="867263"/>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pPr>
              <a:lnSpc>
                <a:spcPct val="100000"/>
              </a:lnSpc>
            </a:pPr>
            <a:r>
              <a:rPr lang="en-US" sz="3600" cap="none" dirty="0">
                <a:solidFill>
                  <a:schemeClr val="bg1"/>
                </a:solidFill>
                <a:latin typeface="Verlag Bold" pitchFamily="2" charset="0"/>
              </a:rPr>
              <a:t>Accelerate Support for Target Industries &amp; New Sectors</a:t>
            </a:r>
            <a:endParaRPr lang="en-US" sz="2400" cap="none" dirty="0">
              <a:solidFill>
                <a:schemeClr val="bg1"/>
              </a:solidFill>
              <a:latin typeface="Verlag Bold" pitchFamily="2" charset="0"/>
            </a:endParaRPr>
          </a:p>
        </p:txBody>
      </p:sp>
      <p:sp>
        <p:nvSpPr>
          <p:cNvPr id="3" name="Slide Number Placeholder 4">
            <a:extLst>
              <a:ext uri="{FF2B5EF4-FFF2-40B4-BE49-F238E27FC236}">
                <a16:creationId xmlns:a16="http://schemas.microsoft.com/office/drawing/2014/main" id="{1916AE7E-E4CD-A38D-B7F4-18B3975E8161}"/>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ld" pitchFamily="2" charset="0"/>
              </a:rPr>
              <a:pPr marL="12700">
                <a:buFont typeface="Arial" panose="020B0604020202020204" pitchFamily="34" charset="0"/>
                <a:buNone/>
              </a:pPr>
              <a:t>6</a:t>
            </a:fld>
            <a:endParaRPr lang="en-US" dirty="0">
              <a:latin typeface="Verlag Bold" pitchFamily="2" charset="0"/>
            </a:endParaRPr>
          </a:p>
        </p:txBody>
      </p:sp>
      <p:cxnSp>
        <p:nvCxnSpPr>
          <p:cNvPr id="4" name="Straight Connector 3">
            <a:extLst>
              <a:ext uri="{FF2B5EF4-FFF2-40B4-BE49-F238E27FC236}">
                <a16:creationId xmlns:a16="http://schemas.microsoft.com/office/drawing/2014/main" id="{5E3BE8CF-4A39-F58D-5DED-BD1BBC54A3CE}"/>
              </a:ext>
            </a:extLst>
          </p:cNvPr>
          <p:cNvCxnSpPr>
            <a:cxnSpLocks/>
          </p:cNvCxnSpPr>
          <p:nvPr/>
        </p:nvCxnSpPr>
        <p:spPr>
          <a:xfrm>
            <a:off x="1027523" y="3991231"/>
            <a:ext cx="59924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1684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D674F820-824B-DACF-AE83-EA143A0702C1}"/>
              </a:ext>
            </a:extLst>
          </p:cNvPr>
          <p:cNvGraphicFramePr>
            <a:graphicFrameLocks noChangeAspect="1"/>
          </p:cNvGraphicFramePr>
          <p:nvPr>
            <p:custDataLst>
              <p:tags r:id="rId1"/>
            </p:custDataLst>
            <p:extLst>
              <p:ext uri="{D42A27DB-BD31-4B8C-83A1-F6EECF244321}">
                <p14:modId xmlns:p14="http://schemas.microsoft.com/office/powerpoint/2010/main" val="223373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8" name="Object 47" hidden="1">
                        <a:extLst>
                          <a:ext uri="{FF2B5EF4-FFF2-40B4-BE49-F238E27FC236}">
                            <a16:creationId xmlns:a16="http://schemas.microsoft.com/office/drawing/2014/main" id="{D674F820-824B-DACF-AE83-EA143A0702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55A26EB-2B87-44CF-9189-EED39DA9EE8F}"/>
              </a:ext>
            </a:extLst>
          </p:cNvPr>
          <p:cNvSpPr>
            <a:spLocks noGrp="1"/>
          </p:cNvSpPr>
          <p:nvPr>
            <p:ph type="title"/>
          </p:nvPr>
        </p:nvSpPr>
        <p:spPr>
          <a:xfrm>
            <a:off x="435800" y="195386"/>
            <a:ext cx="8357363" cy="567394"/>
          </a:xfrm>
        </p:spPr>
        <p:txBody>
          <a:bodyPr vert="horz"/>
          <a:lstStyle/>
          <a:p>
            <a:r>
              <a:rPr lang="en-CA" dirty="0"/>
              <a:t>ACCELERATE SUPPORT FOR TARGET INDUSTRIES &amp; NEW SECTORS</a:t>
            </a:r>
          </a:p>
        </p:txBody>
      </p:sp>
      <p:sp>
        <p:nvSpPr>
          <p:cNvPr id="21" name="Slide Number Placeholder 14">
            <a:extLst>
              <a:ext uri="{FF2B5EF4-FFF2-40B4-BE49-F238E27FC236}">
                <a16:creationId xmlns:a16="http://schemas.microsoft.com/office/drawing/2014/main" id="{5B14A51B-A4A0-D86E-44E5-C584256E4AA8}"/>
              </a:ext>
            </a:extLst>
          </p:cNvPr>
          <p:cNvSpPr>
            <a:spLocks noGrp="1"/>
          </p:cNvSpPr>
          <p:nvPr>
            <p:ph type="sldNum" sz="quarter" idx="4294967295"/>
          </p:nvPr>
        </p:nvSpPr>
        <p:spPr>
          <a:xfrm>
            <a:off x="8793163" y="6516688"/>
            <a:ext cx="350837"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lang="en-US" smtClean="0">
                <a:latin typeface="Verlag Bold" pitchFamily="2" charset="0"/>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7</a:t>
            </a:fld>
            <a:endParaRPr kumimoji="0" lang="en-US" sz="900" b="1" i="0" u="none" strike="noStrike" kern="1200" cap="none" spc="0" normalizeH="0" baseline="0" noProof="0" dirty="0">
              <a:ln>
                <a:noFill/>
              </a:ln>
              <a:solidFill>
                <a:srgbClr val="003865"/>
              </a:solidFill>
              <a:effectLst/>
              <a:uLnTx/>
              <a:uFillTx/>
              <a:latin typeface="Verlag Bold" pitchFamily="2" charset="0"/>
            </a:endParaRPr>
          </a:p>
        </p:txBody>
      </p:sp>
      <p:sp>
        <p:nvSpPr>
          <p:cNvPr id="32" name="Content Placeholder 1">
            <a:extLst>
              <a:ext uri="{FF2B5EF4-FFF2-40B4-BE49-F238E27FC236}">
                <a16:creationId xmlns:a16="http://schemas.microsoft.com/office/drawing/2014/main" id="{75939A2B-9DB6-154C-7C1D-D371F454402B}"/>
              </a:ext>
            </a:extLst>
          </p:cNvPr>
          <p:cNvSpPr txBox="1">
            <a:spLocks/>
          </p:cNvSpPr>
          <p:nvPr/>
        </p:nvSpPr>
        <p:spPr>
          <a:xfrm>
            <a:off x="435800" y="983817"/>
            <a:ext cx="8358240" cy="5532871"/>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lang="en-US"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lang="en-US"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lang="en-US"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lang="en-US" sz="1400" kern="1200" dirty="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pPr marL="0" lvl="2" indent="0">
              <a:buNone/>
            </a:pPr>
            <a:r>
              <a:rPr lang="en-US" sz="1500" b="1" dirty="0">
                <a:solidFill>
                  <a:schemeClr val="accent1"/>
                </a:solidFill>
                <a:latin typeface="Verlag Book" pitchFamily="2" charset="0"/>
              </a:rPr>
              <a:t>Focus Area Summary</a:t>
            </a:r>
          </a:p>
          <a:p>
            <a:pPr lvl="2"/>
            <a:r>
              <a:rPr lang="en-US" sz="1500" dirty="0">
                <a:latin typeface="Verlag Book" pitchFamily="2" charset="0"/>
              </a:rPr>
              <a:t>Elevate industries where Virginia has competitive advantages and establish strategic segments for key sectors to generate growth for rural and urban Virginia, leverage all of government plus enablers to capture growth in industries where Virginia is strongly positioned to win and enhance Virginia’s competitiveness for high-growth industries</a:t>
            </a:r>
          </a:p>
          <a:p>
            <a:pPr lvl="2"/>
            <a:endParaRPr lang="en-US" sz="600" dirty="0">
              <a:latin typeface="Verlag Book" pitchFamily="2" charset="0"/>
            </a:endParaRPr>
          </a:p>
          <a:p>
            <a:pPr marL="0" lvl="2" indent="0">
              <a:buNone/>
            </a:pPr>
            <a:r>
              <a:rPr lang="en-US" sz="1500" b="1" dirty="0">
                <a:solidFill>
                  <a:schemeClr val="accent1"/>
                </a:solidFill>
                <a:latin typeface="Verlag Book" pitchFamily="2" charset="0"/>
              </a:rPr>
              <a:t>Key issues</a:t>
            </a:r>
          </a:p>
          <a:p>
            <a:pPr lvl="2">
              <a:defRPr/>
            </a:pPr>
            <a:r>
              <a:rPr lang="en-US" sz="1500" dirty="0">
                <a:solidFill>
                  <a:srgbClr val="000000"/>
                </a:solidFill>
                <a:latin typeface="Verlag Book" pitchFamily="2" charset="0"/>
              </a:rPr>
              <a:t>Due to the state’s geographical diversity and unique ability to compete across multiple industries, Virginia currently pursues a broad set of target industries; this creates opportunities to more effectively utilize resources</a:t>
            </a:r>
          </a:p>
          <a:p>
            <a:pPr lvl="2">
              <a:defRPr/>
            </a:pPr>
            <a:r>
              <a:rPr lang="en-US" sz="1500" dirty="0">
                <a:solidFill>
                  <a:srgbClr val="000000"/>
                </a:solidFill>
                <a:latin typeface="Verlag Book" pitchFamily="2" charset="0"/>
              </a:rPr>
              <a:t>Lack of large business-ready sites is a competitive disadvantage; competitor states have invested heavily in megasite development for high-growth industries</a:t>
            </a:r>
            <a:endParaRPr lang="en-US" sz="1500" b="1" dirty="0">
              <a:solidFill>
                <a:srgbClr val="000000"/>
              </a:solidFill>
              <a:latin typeface="Verlag Book" pitchFamily="2" charset="0"/>
            </a:endParaRPr>
          </a:p>
          <a:p>
            <a:pPr lvl="2">
              <a:defRPr/>
            </a:pPr>
            <a:endParaRPr lang="en-US" sz="600" b="0" dirty="0">
              <a:solidFill>
                <a:schemeClr val="tx1"/>
              </a:solidFill>
              <a:latin typeface="Verlag Book" pitchFamily="2" charset="0"/>
            </a:endParaRPr>
          </a:p>
          <a:p>
            <a:pPr marL="0" marR="0" lvl="2" indent="0" algn="l" defTabSz="914400" rtl="0" eaLnBrk="1" fontAlgn="auto" latinLnBrk="0" hangingPunct="1">
              <a:lnSpc>
                <a:spcPct val="90000"/>
              </a:lnSpc>
              <a:spcBef>
                <a:spcPts val="0"/>
              </a:spcBef>
              <a:spcAft>
                <a:spcPts val="300"/>
              </a:spcAft>
              <a:buClrTx/>
              <a:buSzTx/>
              <a:buFont typeface="Wingdings" pitchFamily="2" charset="2"/>
              <a:buNone/>
              <a:tabLst/>
              <a:defRPr/>
            </a:pPr>
            <a:r>
              <a:rPr kumimoji="0" lang="en-US" sz="1500" b="1" i="0" u="none" strike="noStrike" kern="1200" cap="none" spc="0" normalizeH="0" baseline="0" noProof="0" dirty="0">
                <a:ln>
                  <a:noFill/>
                </a:ln>
                <a:solidFill>
                  <a:srgbClr val="003865"/>
                </a:solidFill>
                <a:effectLst/>
                <a:uLnTx/>
                <a:uFillTx/>
                <a:latin typeface="Verlag Book" pitchFamily="2" charset="0"/>
              </a:rPr>
              <a:t>Initiatives</a:t>
            </a:r>
            <a:endParaRPr kumimoji="0" lang="en-US" sz="1500" b="1" i="0" u="none" strike="noStrike" kern="1200" cap="none" spc="0" normalizeH="0" baseline="0" noProof="0" dirty="0">
              <a:ln>
                <a:noFill/>
              </a:ln>
              <a:solidFill>
                <a:srgbClr val="003865"/>
              </a:solidFill>
              <a:effectLst/>
              <a:uLnTx/>
              <a:uFillTx/>
              <a:latin typeface="Verlag Book" pitchFamily="2" charset="0"/>
              <a:cs typeface="Arial"/>
            </a:endParaRPr>
          </a:p>
          <a:p>
            <a:pPr marL="266700" marR="0" lvl="2" indent="-266700" algn="l" defTabSz="914400" rtl="0" eaLnBrk="1" fontAlgn="auto" latinLnBrk="0" hangingPunct="1">
              <a:lnSpc>
                <a:spcPct val="90000"/>
              </a:lnSpc>
              <a:spcBef>
                <a:spcPts val="0"/>
              </a:spcBef>
              <a:spcAft>
                <a:spcPts val="300"/>
              </a:spcAft>
              <a:buClrTx/>
              <a:buSzTx/>
              <a:buFont typeface="Wingdings"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lag Book" pitchFamily="2" charset="0"/>
              </a:rPr>
              <a:t>Segment key industries into strategically defined categories based on Virginia’s competitive advantages</a:t>
            </a:r>
          </a:p>
          <a:p>
            <a:pPr marL="266700" marR="0" lvl="2" indent="-266700" algn="l" defTabSz="914400" rtl="0" eaLnBrk="1" fontAlgn="auto" latinLnBrk="0" hangingPunct="1">
              <a:lnSpc>
                <a:spcPct val="90000"/>
              </a:lnSpc>
              <a:spcBef>
                <a:spcPts val="0"/>
              </a:spcBef>
              <a:spcAft>
                <a:spcPts val="300"/>
              </a:spcAft>
              <a:buClrTx/>
              <a:buSzTx/>
              <a:buFont typeface="Wingdings"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lag Book" pitchFamily="2" charset="0"/>
              </a:rPr>
              <a:t>Identify and pursue high-growth industries based on the size of the potential economic growth opportunity and Virginia’s unique competitive advantages</a:t>
            </a:r>
          </a:p>
          <a:p>
            <a:pPr marL="266700" marR="0" lvl="2" indent="-266700" algn="l" defTabSz="914400" rtl="0" eaLnBrk="1" fontAlgn="auto" latinLnBrk="0" hangingPunct="1">
              <a:lnSpc>
                <a:spcPct val="90000"/>
              </a:lnSpc>
              <a:spcBef>
                <a:spcPts val="0"/>
              </a:spcBef>
              <a:spcAft>
                <a:spcPts val="300"/>
              </a:spcAft>
              <a:buClrTx/>
              <a:buSzTx/>
              <a:buFont typeface="Wingdings"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lag Book" pitchFamily="2" charset="0"/>
              </a:rPr>
              <a:t>Develop go-to-market strategies through a coordinated approach, leveraging global best practices for economic development to generate custom business solutions for companies in key sectors</a:t>
            </a:r>
          </a:p>
          <a:p>
            <a:pPr marL="266700" marR="0" lvl="2" indent="-266700" algn="l" defTabSz="914400" rtl="0" eaLnBrk="1" fontAlgn="auto" latinLnBrk="0" hangingPunct="1">
              <a:lnSpc>
                <a:spcPct val="90000"/>
              </a:lnSpc>
              <a:spcBef>
                <a:spcPts val="0"/>
              </a:spcBef>
              <a:spcAft>
                <a:spcPts val="300"/>
              </a:spcAft>
              <a:buClrTx/>
              <a:buSzTx/>
              <a:buFont typeface="Wingdings"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lag Book" pitchFamily="2" charset="0"/>
              </a:rPr>
              <a:t>Position Virginia to capture long-term economic growth in key industries through structural changes to fundamental aspects of business attraction, including quality of life, education and workforce, cost of living, and cost of doing business</a:t>
            </a:r>
          </a:p>
          <a:p>
            <a:pPr marL="266700" marR="0" lvl="2" indent="-266700" algn="l" defTabSz="914400" rtl="0" eaLnBrk="1" fontAlgn="auto" latinLnBrk="0" hangingPunct="1">
              <a:lnSpc>
                <a:spcPct val="90000"/>
              </a:lnSpc>
              <a:spcBef>
                <a:spcPts val="0"/>
              </a:spcBef>
              <a:spcAft>
                <a:spcPts val="300"/>
              </a:spcAft>
              <a:buClrTx/>
              <a:buSzTx/>
              <a:buFont typeface="Wingdings" pitchFamily="2" charset="2"/>
              <a:buChar char="§"/>
              <a:tabLst/>
              <a:defRPr/>
            </a:pPr>
            <a:r>
              <a:rPr kumimoji="0" lang="en-US" sz="1500" b="0" i="0" u="none" strike="noStrike" kern="1200" cap="none" spc="0" normalizeH="0" baseline="0" noProof="0" dirty="0">
                <a:ln>
                  <a:noFill/>
                </a:ln>
                <a:solidFill>
                  <a:srgbClr val="000000"/>
                </a:solidFill>
                <a:effectLst/>
                <a:uLnTx/>
                <a:uFillTx/>
                <a:latin typeface="Verlag Book" pitchFamily="2" charset="0"/>
              </a:rPr>
              <a:t>Allocate significant resources to capture economic growth and cultivate an ecosystem for each focus sector</a:t>
            </a:r>
            <a:endParaRPr lang="en-US" sz="1500" b="0" dirty="0">
              <a:solidFill>
                <a:schemeClr val="tx1"/>
              </a:solidFill>
              <a:latin typeface="Verlag Book" pitchFamily="2" charset="0"/>
            </a:endParaRPr>
          </a:p>
          <a:p>
            <a:endParaRPr lang="en-US" sz="1500" dirty="0">
              <a:cs typeface="Arial" panose="020B0604020202020204"/>
            </a:endParaRPr>
          </a:p>
        </p:txBody>
      </p:sp>
    </p:spTree>
    <p:extLst>
      <p:ext uri="{BB962C8B-B14F-4D97-AF65-F5344CB8AC3E}">
        <p14:creationId xmlns:p14="http://schemas.microsoft.com/office/powerpoint/2010/main" val="3907382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3" name="Object 82" hidden="1">
            <a:extLst>
              <a:ext uri="{FF2B5EF4-FFF2-40B4-BE49-F238E27FC236}">
                <a16:creationId xmlns:a16="http://schemas.microsoft.com/office/drawing/2014/main" id="{E1084622-6F0F-A30B-B5C5-3280A732496F}"/>
              </a:ext>
            </a:extLst>
          </p:cNvPr>
          <p:cNvGraphicFramePr>
            <a:graphicFrameLocks noChangeAspect="1"/>
          </p:cNvGraphicFramePr>
          <p:nvPr>
            <p:custDataLst>
              <p:tags r:id="rId2"/>
            </p:custDataLst>
            <p:extLst>
              <p:ext uri="{D42A27DB-BD31-4B8C-83A1-F6EECF244321}">
                <p14:modId xmlns:p14="http://schemas.microsoft.com/office/powerpoint/2010/main" val="385904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3" name="Object 82" hidden="1">
                        <a:extLst>
                          <a:ext uri="{FF2B5EF4-FFF2-40B4-BE49-F238E27FC236}">
                            <a16:creationId xmlns:a16="http://schemas.microsoft.com/office/drawing/2014/main" id="{E1084622-6F0F-A30B-B5C5-3280A73249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59" name="Group 58">
            <a:extLst>
              <a:ext uri="{FF2B5EF4-FFF2-40B4-BE49-F238E27FC236}">
                <a16:creationId xmlns:a16="http://schemas.microsoft.com/office/drawing/2014/main" id="{4ADD53AC-A880-A34D-2075-3A3D8D5D5613}"/>
              </a:ext>
            </a:extLst>
          </p:cNvPr>
          <p:cNvGrpSpPr/>
          <p:nvPr/>
        </p:nvGrpSpPr>
        <p:grpSpPr>
          <a:xfrm>
            <a:off x="136034" y="1489075"/>
            <a:ext cx="8143263" cy="959895"/>
            <a:chOff x="136034" y="1489075"/>
            <a:chExt cx="8143263" cy="959895"/>
          </a:xfrm>
        </p:grpSpPr>
        <p:cxnSp>
          <p:nvCxnSpPr>
            <p:cNvPr id="30" name="Connector: Elbow 29">
              <a:extLst>
                <a:ext uri="{FF2B5EF4-FFF2-40B4-BE49-F238E27FC236}">
                  <a16:creationId xmlns:a16="http://schemas.microsoft.com/office/drawing/2014/main" id="{292A3B56-D856-C279-963D-4B4A5CB5DF2F}"/>
                </a:ext>
              </a:extLst>
            </p:cNvPr>
            <p:cNvCxnSpPr>
              <a:cxnSpLocks/>
            </p:cNvCxnSpPr>
            <p:nvPr/>
          </p:nvCxnSpPr>
          <p:spPr>
            <a:xfrm rot="10800000">
              <a:off x="136034" y="1556856"/>
              <a:ext cx="8143263" cy="789014"/>
            </a:xfrm>
            <a:prstGeom prst="bentConnector3">
              <a:avLst>
                <a:gd name="adj1" fmla="val -7865"/>
              </a:avLst>
            </a:prstGeom>
            <a:ln w="136525">
              <a:solidFill>
                <a:srgbClr val="C00000"/>
              </a:solidFill>
              <a:miter lim="800000"/>
              <a:tailEnd type="none" w="sm" len="sm"/>
            </a:ln>
          </p:spPr>
          <p:style>
            <a:lnRef idx="1">
              <a:schemeClr val="accent1"/>
            </a:lnRef>
            <a:fillRef idx="0">
              <a:schemeClr val="accent1"/>
            </a:fillRef>
            <a:effectRef idx="0">
              <a:schemeClr val="accent1"/>
            </a:effectRef>
            <a:fontRef idx="minor">
              <a:schemeClr val="tx1"/>
            </a:fontRef>
          </p:style>
        </p:cxnSp>
        <p:sp>
          <p:nvSpPr>
            <p:cNvPr id="33" name="Arrow: Down 32">
              <a:extLst>
                <a:ext uri="{FF2B5EF4-FFF2-40B4-BE49-F238E27FC236}">
                  <a16:creationId xmlns:a16="http://schemas.microsoft.com/office/drawing/2014/main" id="{6612F777-EEFD-572C-843D-0A719DE0F702}"/>
                </a:ext>
              </a:extLst>
            </p:cNvPr>
            <p:cNvSpPr/>
            <p:nvPr/>
          </p:nvSpPr>
          <p:spPr>
            <a:xfrm rot="16200000">
              <a:off x="248913" y="2169446"/>
              <a:ext cx="259211" cy="299837"/>
            </a:xfrm>
            <a:prstGeom prst="downArrow">
              <a:avLst>
                <a:gd name="adj1" fmla="val 50000"/>
                <a:gd name="adj2" fmla="val 4789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lag Book" pitchFamily="2" charset="0"/>
              </a:endParaRPr>
            </a:p>
          </p:txBody>
        </p:sp>
        <p:cxnSp>
          <p:nvCxnSpPr>
            <p:cNvPr id="44" name="Straight Connector 43">
              <a:extLst>
                <a:ext uri="{FF2B5EF4-FFF2-40B4-BE49-F238E27FC236}">
                  <a16:creationId xmlns:a16="http://schemas.microsoft.com/office/drawing/2014/main" id="{8578B41F-9A85-7191-D138-E0362AE4A6AB}"/>
                </a:ext>
              </a:extLst>
            </p:cNvPr>
            <p:cNvCxnSpPr>
              <a:cxnSpLocks/>
            </p:cNvCxnSpPr>
            <p:nvPr/>
          </p:nvCxnSpPr>
          <p:spPr>
            <a:xfrm>
              <a:off x="200028" y="1489075"/>
              <a:ext cx="0" cy="896112"/>
            </a:xfrm>
            <a:prstGeom prst="line">
              <a:avLst/>
            </a:prstGeom>
            <a:ln w="136525">
              <a:solidFill>
                <a:srgbClr val="C00000"/>
              </a:solidFill>
              <a:miter lim="800000"/>
              <a:tailEnd type="none" w="sm" len="sm"/>
            </a:ln>
          </p:spPr>
          <p:style>
            <a:lnRef idx="1">
              <a:schemeClr val="accent1"/>
            </a:lnRef>
            <a:fillRef idx="0">
              <a:schemeClr val="accent1"/>
            </a:fillRef>
            <a:effectRef idx="0">
              <a:schemeClr val="accent1"/>
            </a:effectRef>
            <a:fontRef idx="minor">
              <a:schemeClr val="tx1"/>
            </a:fontRef>
          </p:style>
        </p:cxnSp>
      </p:grpSp>
      <p:graphicFrame>
        <p:nvGraphicFramePr>
          <p:cNvPr id="20" name="Diagram 19">
            <a:extLst>
              <a:ext uri="{FF2B5EF4-FFF2-40B4-BE49-F238E27FC236}">
                <a16:creationId xmlns:a16="http://schemas.microsoft.com/office/drawing/2014/main" id="{1E4BE318-64A4-50DF-225A-8D3119EE7BD6}"/>
              </a:ext>
            </a:extLst>
          </p:cNvPr>
          <p:cNvGraphicFramePr/>
          <p:nvPr>
            <p:extLst>
              <p:ext uri="{D42A27DB-BD31-4B8C-83A1-F6EECF244321}">
                <p14:modId xmlns:p14="http://schemas.microsoft.com/office/powerpoint/2010/main" val="1911637524"/>
              </p:ext>
            </p:extLst>
          </p:nvPr>
        </p:nvGraphicFramePr>
        <p:xfrm>
          <a:off x="532614" y="1666769"/>
          <a:ext cx="8078771" cy="13136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a:extLst>
              <a:ext uri="{FF2B5EF4-FFF2-40B4-BE49-F238E27FC236}">
                <a16:creationId xmlns:a16="http://schemas.microsoft.com/office/drawing/2014/main" id="{7C31B922-FCD1-4880-8A44-04E5BDD484BA}"/>
              </a:ext>
            </a:extLst>
          </p:cNvPr>
          <p:cNvSpPr>
            <a:spLocks noGrp="1"/>
          </p:cNvSpPr>
          <p:nvPr>
            <p:ph type="title"/>
          </p:nvPr>
        </p:nvSpPr>
        <p:spPr>
          <a:xfrm>
            <a:off x="267855" y="173157"/>
            <a:ext cx="8669101" cy="567394"/>
          </a:xfrm>
        </p:spPr>
        <p:txBody>
          <a:bodyPr vert="horz"/>
          <a:lstStyle/>
          <a:p>
            <a:r>
              <a:rPr lang="en-US" dirty="0">
                <a:latin typeface="Verlag Bold" pitchFamily="2" charset="0"/>
              </a:rPr>
              <a:t>Virginia’s approach to target industry refinement and leveraging an all-of-government approach</a:t>
            </a:r>
          </a:p>
        </p:txBody>
      </p:sp>
      <p:sp>
        <p:nvSpPr>
          <p:cNvPr id="5" name="Slide Number Placeholder 4">
            <a:extLst>
              <a:ext uri="{FF2B5EF4-FFF2-40B4-BE49-F238E27FC236}">
                <a16:creationId xmlns:a16="http://schemas.microsoft.com/office/drawing/2014/main" id="{94CFD307-6DAB-473D-AF83-06BB85B99DE9}"/>
              </a:ext>
            </a:extLst>
          </p:cNvPr>
          <p:cNvSpPr>
            <a:spLocks noGrp="1"/>
          </p:cNvSpPr>
          <p:nvPr>
            <p:ph type="sldNum" sz="quarter" idx="107"/>
          </p:nvPr>
        </p:nvSpPr>
        <p:spPr>
          <a:xfrm>
            <a:off x="8790039" y="6525984"/>
            <a:ext cx="350454" cy="174625"/>
          </a:xfrm>
        </p:spPr>
        <p:txBody>
          <a:bodyPr/>
          <a:lstStyle/>
          <a:p>
            <a:pPr marL="12700">
              <a:buFont typeface="Arial" panose="020B0604020202020204" pitchFamily="34" charset="0"/>
              <a:buNone/>
            </a:pPr>
            <a:fld id="{078C017C-E1B9-8443-B047-B08AAA027B45}" type="slidenum">
              <a:rPr lang="en-US" smtClean="0">
                <a:latin typeface="Verlag Book" pitchFamily="2" charset="0"/>
              </a:rPr>
              <a:pPr marL="12700">
                <a:buFont typeface="Arial" panose="020B0604020202020204" pitchFamily="34" charset="0"/>
                <a:buNone/>
              </a:pPr>
              <a:t>8</a:t>
            </a:fld>
            <a:endParaRPr lang="en-US" sz="900" b="1" dirty="0">
              <a:solidFill>
                <a:schemeClr val="accent1"/>
              </a:solidFill>
              <a:latin typeface="Verlag Book" pitchFamily="2" charset="0"/>
            </a:endParaRPr>
          </a:p>
        </p:txBody>
      </p:sp>
      <p:grpSp>
        <p:nvGrpSpPr>
          <p:cNvPr id="16" name="Group 15">
            <a:extLst>
              <a:ext uri="{FF2B5EF4-FFF2-40B4-BE49-F238E27FC236}">
                <a16:creationId xmlns:a16="http://schemas.microsoft.com/office/drawing/2014/main" id="{9495347C-B830-DD69-1C1F-3A513749D419}"/>
              </a:ext>
            </a:extLst>
          </p:cNvPr>
          <p:cNvGrpSpPr/>
          <p:nvPr/>
        </p:nvGrpSpPr>
        <p:grpSpPr>
          <a:xfrm>
            <a:off x="1458495" y="810323"/>
            <a:ext cx="6287820" cy="624548"/>
            <a:chOff x="1773930" y="1212512"/>
            <a:chExt cx="6287820" cy="624548"/>
          </a:xfrm>
        </p:grpSpPr>
        <p:pic>
          <p:nvPicPr>
            <p:cNvPr id="12" name="Graphic 11" descr="Processor outline">
              <a:extLst>
                <a:ext uri="{FF2B5EF4-FFF2-40B4-BE49-F238E27FC236}">
                  <a16:creationId xmlns:a16="http://schemas.microsoft.com/office/drawing/2014/main" id="{80F914F2-D089-919B-08FB-A9A0AAD331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73930" y="1212512"/>
              <a:ext cx="624548" cy="624548"/>
            </a:xfrm>
            <a:prstGeom prst="rect">
              <a:avLst/>
            </a:prstGeom>
          </p:spPr>
        </p:pic>
        <p:sp>
          <p:nvSpPr>
            <p:cNvPr id="13" name="Title 2">
              <a:extLst>
                <a:ext uri="{FF2B5EF4-FFF2-40B4-BE49-F238E27FC236}">
                  <a16:creationId xmlns:a16="http://schemas.microsoft.com/office/drawing/2014/main" id="{18B01CAF-EDC6-183E-EF44-F42598EAEDEC}"/>
                </a:ext>
              </a:extLst>
            </p:cNvPr>
            <p:cNvSpPr txBox="1">
              <a:spLocks/>
            </p:cNvSpPr>
            <p:nvPr/>
          </p:nvSpPr>
          <p:spPr>
            <a:xfrm>
              <a:off x="2543404" y="1273965"/>
              <a:ext cx="5518346" cy="37325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dirty="0">
                  <a:latin typeface="Verlag Book" pitchFamily="2" charset="0"/>
                </a:rPr>
                <a:t>EXAMPLE INDUSTRY: ADVANCED MATERIALS</a:t>
              </a:r>
            </a:p>
          </p:txBody>
        </p:sp>
      </p:grpSp>
      <p:cxnSp>
        <p:nvCxnSpPr>
          <p:cNvPr id="15" name="Straight Connector 14">
            <a:extLst>
              <a:ext uri="{FF2B5EF4-FFF2-40B4-BE49-F238E27FC236}">
                <a16:creationId xmlns:a16="http://schemas.microsoft.com/office/drawing/2014/main" id="{C839AA8A-D9CC-4D41-8AB0-B99DD8B8816C}"/>
              </a:ext>
            </a:extLst>
          </p:cNvPr>
          <p:cNvCxnSpPr/>
          <p:nvPr/>
        </p:nvCxnSpPr>
        <p:spPr>
          <a:xfrm>
            <a:off x="4069080" y="4041327"/>
            <a:ext cx="10058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3" descr="Freight with solid fill">
            <a:extLst>
              <a:ext uri="{FF2B5EF4-FFF2-40B4-BE49-F238E27FC236}">
                <a16:creationId xmlns:a16="http://schemas.microsoft.com/office/drawing/2014/main" id="{4662768C-8627-743C-9BFD-B014B541AF3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2614" y="3680750"/>
            <a:ext cx="513761" cy="513761"/>
          </a:xfrm>
          <a:prstGeom prst="rect">
            <a:avLst/>
          </a:prstGeom>
        </p:spPr>
      </p:pic>
      <p:sp>
        <p:nvSpPr>
          <p:cNvPr id="8" name="TextBox 7">
            <a:extLst>
              <a:ext uri="{FF2B5EF4-FFF2-40B4-BE49-F238E27FC236}">
                <a16:creationId xmlns:a16="http://schemas.microsoft.com/office/drawing/2014/main" id="{F1D0F842-C4A2-27B9-20DB-EDE7478AF0B9}"/>
              </a:ext>
            </a:extLst>
          </p:cNvPr>
          <p:cNvSpPr txBox="1"/>
          <p:nvPr/>
        </p:nvSpPr>
        <p:spPr>
          <a:xfrm>
            <a:off x="1146259" y="3829908"/>
            <a:ext cx="1687398" cy="215444"/>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Port of Virginia </a:t>
            </a:r>
          </a:p>
        </p:txBody>
      </p:sp>
      <p:pic>
        <p:nvPicPr>
          <p:cNvPr id="9" name="Graphic 8">
            <a:extLst>
              <a:ext uri="{FF2B5EF4-FFF2-40B4-BE49-F238E27FC236}">
                <a16:creationId xmlns:a16="http://schemas.microsoft.com/office/drawing/2014/main" id="{00898AEA-B652-5825-7E55-ADCAD855E4E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532614" y="4218144"/>
            <a:ext cx="513761" cy="513761"/>
          </a:xfrm>
          <a:prstGeom prst="rect">
            <a:avLst/>
          </a:prstGeom>
        </p:spPr>
      </p:pic>
      <p:sp>
        <p:nvSpPr>
          <p:cNvPr id="10" name="TextBox 9">
            <a:extLst>
              <a:ext uri="{FF2B5EF4-FFF2-40B4-BE49-F238E27FC236}">
                <a16:creationId xmlns:a16="http://schemas.microsoft.com/office/drawing/2014/main" id="{A3AC44B3-2387-C1FF-83E0-67E1C54125D5}"/>
              </a:ext>
            </a:extLst>
          </p:cNvPr>
          <p:cNvSpPr txBox="1"/>
          <p:nvPr/>
        </p:nvSpPr>
        <p:spPr>
          <a:xfrm>
            <a:off x="1146259" y="4264356"/>
            <a:ext cx="1687398"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Transportation infrastructure</a:t>
            </a:r>
          </a:p>
        </p:txBody>
      </p:sp>
      <p:pic>
        <p:nvPicPr>
          <p:cNvPr id="11" name="Graphic 10">
            <a:extLst>
              <a:ext uri="{FF2B5EF4-FFF2-40B4-BE49-F238E27FC236}">
                <a16:creationId xmlns:a16="http://schemas.microsoft.com/office/drawing/2014/main" id="{1C6A63BB-D96C-8592-F0E9-A2F36CD891B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532614" y="4812394"/>
            <a:ext cx="513761" cy="513761"/>
          </a:xfrm>
          <a:prstGeom prst="rect">
            <a:avLst/>
          </a:prstGeom>
        </p:spPr>
      </p:pic>
      <p:sp>
        <p:nvSpPr>
          <p:cNvPr id="14" name="TextBox 13">
            <a:extLst>
              <a:ext uri="{FF2B5EF4-FFF2-40B4-BE49-F238E27FC236}">
                <a16:creationId xmlns:a16="http://schemas.microsoft.com/office/drawing/2014/main" id="{3A9A1761-5342-F319-9E60-17C9B293447C}"/>
              </a:ext>
            </a:extLst>
          </p:cNvPr>
          <p:cNvSpPr txBox="1"/>
          <p:nvPr/>
        </p:nvSpPr>
        <p:spPr>
          <a:xfrm>
            <a:off x="1146259" y="4845141"/>
            <a:ext cx="1687398"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World-class talent pipeline</a:t>
            </a:r>
          </a:p>
        </p:txBody>
      </p:sp>
      <p:pic>
        <p:nvPicPr>
          <p:cNvPr id="17" name="Graphic 16" descr="Fluorescent Light Blub with solid fill">
            <a:extLst>
              <a:ext uri="{FF2B5EF4-FFF2-40B4-BE49-F238E27FC236}">
                <a16:creationId xmlns:a16="http://schemas.microsoft.com/office/drawing/2014/main" id="{9ABB64D7-1B43-4497-44D8-A201AE1303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532614" y="5413062"/>
            <a:ext cx="513761" cy="513761"/>
          </a:xfrm>
          <a:prstGeom prst="rect">
            <a:avLst/>
          </a:prstGeom>
        </p:spPr>
      </p:pic>
      <p:sp>
        <p:nvSpPr>
          <p:cNvPr id="18" name="TextBox 17">
            <a:extLst>
              <a:ext uri="{FF2B5EF4-FFF2-40B4-BE49-F238E27FC236}">
                <a16:creationId xmlns:a16="http://schemas.microsoft.com/office/drawing/2014/main" id="{E9B2DE3F-4DD8-1D45-253E-98AAC7A13180}"/>
              </a:ext>
            </a:extLst>
          </p:cNvPr>
          <p:cNvSpPr txBox="1"/>
          <p:nvPr/>
        </p:nvSpPr>
        <p:spPr>
          <a:xfrm>
            <a:off x="1146259" y="5495936"/>
            <a:ext cx="1687398"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Competitive energy costs</a:t>
            </a:r>
          </a:p>
        </p:txBody>
      </p:sp>
      <p:pic>
        <p:nvPicPr>
          <p:cNvPr id="19" name="Graphic 18" descr="Bulldozer with solid fill">
            <a:extLst>
              <a:ext uri="{FF2B5EF4-FFF2-40B4-BE49-F238E27FC236}">
                <a16:creationId xmlns:a16="http://schemas.microsoft.com/office/drawing/2014/main" id="{43BC29BF-23A6-BD99-337A-9979F736428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3230247" y="3665989"/>
            <a:ext cx="513761" cy="513761"/>
          </a:xfrm>
          <a:prstGeom prst="rect">
            <a:avLst/>
          </a:prstGeom>
        </p:spPr>
      </p:pic>
      <p:sp>
        <p:nvSpPr>
          <p:cNvPr id="21" name="TextBox 20">
            <a:extLst>
              <a:ext uri="{FF2B5EF4-FFF2-40B4-BE49-F238E27FC236}">
                <a16:creationId xmlns:a16="http://schemas.microsoft.com/office/drawing/2014/main" id="{A5AA4612-9215-7AE9-4EF9-F5FCA5702CC9}"/>
              </a:ext>
            </a:extLst>
          </p:cNvPr>
          <p:cNvSpPr txBox="1"/>
          <p:nvPr/>
        </p:nvSpPr>
        <p:spPr>
          <a:xfrm>
            <a:off x="3882273" y="3709957"/>
            <a:ext cx="2191174"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Transformational site development investments</a:t>
            </a:r>
          </a:p>
        </p:txBody>
      </p:sp>
      <p:pic>
        <p:nvPicPr>
          <p:cNvPr id="22" name="Graphic 21" descr="Home with solid fill">
            <a:extLst>
              <a:ext uri="{FF2B5EF4-FFF2-40B4-BE49-F238E27FC236}">
                <a16:creationId xmlns:a16="http://schemas.microsoft.com/office/drawing/2014/main" id="{CC98F8D2-414E-C3DB-4B38-466E8E77A00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3230247" y="4203383"/>
            <a:ext cx="513761" cy="513761"/>
          </a:xfrm>
          <a:prstGeom prst="rect">
            <a:avLst/>
          </a:prstGeom>
        </p:spPr>
      </p:pic>
      <p:sp>
        <p:nvSpPr>
          <p:cNvPr id="23" name="TextBox 22">
            <a:extLst>
              <a:ext uri="{FF2B5EF4-FFF2-40B4-BE49-F238E27FC236}">
                <a16:creationId xmlns:a16="http://schemas.microsoft.com/office/drawing/2014/main" id="{7B913D04-DB93-9C41-939B-9B8A2C853434}"/>
              </a:ext>
            </a:extLst>
          </p:cNvPr>
          <p:cNvSpPr txBox="1"/>
          <p:nvPr/>
        </p:nvSpPr>
        <p:spPr>
          <a:xfrm>
            <a:off x="3882274" y="4272344"/>
            <a:ext cx="1687398"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Ensure affordable, attainable housing</a:t>
            </a:r>
          </a:p>
        </p:txBody>
      </p:sp>
      <p:pic>
        <p:nvPicPr>
          <p:cNvPr id="24" name="Graphic 23" descr="Coins with solid fill">
            <a:extLst>
              <a:ext uri="{FF2B5EF4-FFF2-40B4-BE49-F238E27FC236}">
                <a16:creationId xmlns:a16="http://schemas.microsoft.com/office/drawing/2014/main" id="{DF87E46B-DCA0-69DC-D776-205159D0F9A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3230247" y="4740777"/>
            <a:ext cx="513761" cy="513761"/>
          </a:xfrm>
          <a:prstGeom prst="rect">
            <a:avLst/>
          </a:prstGeom>
        </p:spPr>
      </p:pic>
      <p:sp>
        <p:nvSpPr>
          <p:cNvPr id="25" name="TextBox 24">
            <a:extLst>
              <a:ext uri="{FF2B5EF4-FFF2-40B4-BE49-F238E27FC236}">
                <a16:creationId xmlns:a16="http://schemas.microsoft.com/office/drawing/2014/main" id="{62B6679B-D7BC-825D-3EEF-8BE05328A741}"/>
              </a:ext>
            </a:extLst>
          </p:cNvPr>
          <p:cNvSpPr txBox="1"/>
          <p:nvPr/>
        </p:nvSpPr>
        <p:spPr>
          <a:xfrm>
            <a:off x="3873904" y="4794177"/>
            <a:ext cx="2160103"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Reduce costs of doing business &amp; regulatory burdens</a:t>
            </a:r>
          </a:p>
        </p:txBody>
      </p:sp>
      <p:pic>
        <p:nvPicPr>
          <p:cNvPr id="26" name="Graphic 25">
            <a:extLst>
              <a:ext uri="{FF2B5EF4-FFF2-40B4-BE49-F238E27FC236}">
                <a16:creationId xmlns:a16="http://schemas.microsoft.com/office/drawing/2014/main" id="{C5B34DA9-E20E-E17B-29A9-219441ECA74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3230247" y="5436499"/>
            <a:ext cx="513761" cy="513761"/>
          </a:xfrm>
          <a:prstGeom prst="rect">
            <a:avLst/>
          </a:prstGeom>
        </p:spPr>
      </p:pic>
      <p:sp>
        <p:nvSpPr>
          <p:cNvPr id="27" name="TextBox 26">
            <a:extLst>
              <a:ext uri="{FF2B5EF4-FFF2-40B4-BE49-F238E27FC236}">
                <a16:creationId xmlns:a16="http://schemas.microsoft.com/office/drawing/2014/main" id="{377C90D1-1103-3B55-B439-85932C2F4389}"/>
              </a:ext>
            </a:extLst>
          </p:cNvPr>
          <p:cNvSpPr txBox="1"/>
          <p:nvPr/>
        </p:nvSpPr>
        <p:spPr>
          <a:xfrm>
            <a:off x="3882273" y="5477935"/>
            <a:ext cx="2254565"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Develop &amp; train a competitive workforce</a:t>
            </a:r>
          </a:p>
        </p:txBody>
      </p:sp>
      <p:pic>
        <p:nvPicPr>
          <p:cNvPr id="36" name="Graphic 35" descr="Map with pin with solid fill">
            <a:extLst>
              <a:ext uri="{FF2B5EF4-FFF2-40B4-BE49-F238E27FC236}">
                <a16:creationId xmlns:a16="http://schemas.microsoft.com/office/drawing/2014/main" id="{0999E77F-16C6-D696-2A39-E978247F7921}"/>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6239680" y="3689815"/>
            <a:ext cx="513761" cy="513761"/>
          </a:xfrm>
          <a:prstGeom prst="rect">
            <a:avLst/>
          </a:prstGeom>
        </p:spPr>
      </p:pic>
      <p:sp>
        <p:nvSpPr>
          <p:cNvPr id="37" name="TextBox 36">
            <a:extLst>
              <a:ext uri="{FF2B5EF4-FFF2-40B4-BE49-F238E27FC236}">
                <a16:creationId xmlns:a16="http://schemas.microsoft.com/office/drawing/2014/main" id="{CAB6BB82-F15E-9DA5-90AA-F56C827BC04B}"/>
              </a:ext>
            </a:extLst>
          </p:cNvPr>
          <p:cNvSpPr txBox="1"/>
          <p:nvPr/>
        </p:nvSpPr>
        <p:spPr>
          <a:xfrm>
            <a:off x="6923987" y="3765765"/>
            <a:ext cx="1937554"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Project-ready sites and speed to market</a:t>
            </a:r>
          </a:p>
        </p:txBody>
      </p:sp>
      <p:pic>
        <p:nvPicPr>
          <p:cNvPr id="38" name="Graphic 37">
            <a:extLst>
              <a:ext uri="{FF2B5EF4-FFF2-40B4-BE49-F238E27FC236}">
                <a16:creationId xmlns:a16="http://schemas.microsoft.com/office/drawing/2014/main" id="{E2E5CECA-03DB-3371-2AD6-DB863E61ADFD}"/>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6239680" y="4227209"/>
            <a:ext cx="513761" cy="513761"/>
          </a:xfrm>
          <a:prstGeom prst="rect">
            <a:avLst/>
          </a:prstGeom>
        </p:spPr>
      </p:pic>
      <p:sp>
        <p:nvSpPr>
          <p:cNvPr id="39" name="TextBox 38">
            <a:extLst>
              <a:ext uri="{FF2B5EF4-FFF2-40B4-BE49-F238E27FC236}">
                <a16:creationId xmlns:a16="http://schemas.microsoft.com/office/drawing/2014/main" id="{B90632A3-4C44-4B8B-FEA7-3CE42489F8D7}"/>
              </a:ext>
            </a:extLst>
          </p:cNvPr>
          <p:cNvSpPr txBox="1"/>
          <p:nvPr/>
        </p:nvSpPr>
        <p:spPr>
          <a:xfrm>
            <a:off x="6928040" y="4283044"/>
            <a:ext cx="2008917"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Workforce housing development plans</a:t>
            </a:r>
          </a:p>
        </p:txBody>
      </p:sp>
      <p:pic>
        <p:nvPicPr>
          <p:cNvPr id="40" name="Graphic 39">
            <a:extLst>
              <a:ext uri="{FF2B5EF4-FFF2-40B4-BE49-F238E27FC236}">
                <a16:creationId xmlns:a16="http://schemas.microsoft.com/office/drawing/2014/main" id="{1B76B470-00F3-357B-337C-9663BE7C9D5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6239680" y="4783653"/>
            <a:ext cx="513761" cy="513761"/>
          </a:xfrm>
          <a:prstGeom prst="rect">
            <a:avLst/>
          </a:prstGeom>
        </p:spPr>
      </p:pic>
      <p:sp>
        <p:nvSpPr>
          <p:cNvPr id="41" name="TextBox 40">
            <a:extLst>
              <a:ext uri="{FF2B5EF4-FFF2-40B4-BE49-F238E27FC236}">
                <a16:creationId xmlns:a16="http://schemas.microsoft.com/office/drawing/2014/main" id="{B0426226-0EA7-7358-DCFA-80653AA15D15}"/>
              </a:ext>
            </a:extLst>
          </p:cNvPr>
          <p:cNvSpPr txBox="1"/>
          <p:nvPr/>
        </p:nvSpPr>
        <p:spPr>
          <a:xfrm>
            <a:off x="6923987" y="4863539"/>
            <a:ext cx="2070757"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Tailored cost of doing business reductions </a:t>
            </a:r>
          </a:p>
        </p:txBody>
      </p:sp>
      <p:cxnSp>
        <p:nvCxnSpPr>
          <p:cNvPr id="45" name="Straight Connector 44">
            <a:extLst>
              <a:ext uri="{FF2B5EF4-FFF2-40B4-BE49-F238E27FC236}">
                <a16:creationId xmlns:a16="http://schemas.microsoft.com/office/drawing/2014/main" id="{6E014782-8CB5-9F52-F24E-E02ABAA432D6}"/>
              </a:ext>
            </a:extLst>
          </p:cNvPr>
          <p:cNvCxnSpPr/>
          <p:nvPr/>
        </p:nvCxnSpPr>
        <p:spPr>
          <a:xfrm>
            <a:off x="3016577" y="3742109"/>
            <a:ext cx="0" cy="27432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E03CE7-1804-2C76-CE8E-52F020C6C4AA}"/>
              </a:ext>
            </a:extLst>
          </p:cNvPr>
          <p:cNvCxnSpPr/>
          <p:nvPr/>
        </p:nvCxnSpPr>
        <p:spPr>
          <a:xfrm>
            <a:off x="6136838" y="3753065"/>
            <a:ext cx="0" cy="27432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50CA4FA-FEB7-EF6A-0A36-4980BC5D4B13}"/>
              </a:ext>
            </a:extLst>
          </p:cNvPr>
          <p:cNvSpPr txBox="1"/>
          <p:nvPr/>
        </p:nvSpPr>
        <p:spPr>
          <a:xfrm>
            <a:off x="520916" y="3131525"/>
            <a:ext cx="2224842" cy="430887"/>
          </a:xfrm>
          <a:prstGeom prst="rect">
            <a:avLst/>
          </a:prstGeom>
        </p:spPr>
        <p:txBody>
          <a:bodyPr vert="horz" wrap="square" lIns="0" tIns="0" rIns="0" bIns="0" rtlCol="0" anchor="t">
            <a:spAutoFit/>
          </a:bodyPr>
          <a:lstStyle/>
          <a:p>
            <a:pPr algn="ctr"/>
            <a:r>
              <a:rPr lang="en-US" sz="1400" b="1" dirty="0">
                <a:solidFill>
                  <a:srgbClr val="003865"/>
                </a:solidFill>
                <a:latin typeface="Verlag Book" pitchFamily="2" charset="0"/>
                <a:ea typeface="Arial" charset="0"/>
                <a:cs typeface="Arial" charset="0"/>
              </a:rPr>
              <a:t>Build on Virginia's competitive advantages*</a:t>
            </a:r>
          </a:p>
        </p:txBody>
      </p:sp>
      <p:sp>
        <p:nvSpPr>
          <p:cNvPr id="48" name="TextBox 47">
            <a:extLst>
              <a:ext uri="{FF2B5EF4-FFF2-40B4-BE49-F238E27FC236}">
                <a16:creationId xmlns:a16="http://schemas.microsoft.com/office/drawing/2014/main" id="{0EF314FD-43FC-BA21-BCFC-042C37DCF54C}"/>
              </a:ext>
            </a:extLst>
          </p:cNvPr>
          <p:cNvSpPr txBox="1"/>
          <p:nvPr/>
        </p:nvSpPr>
        <p:spPr>
          <a:xfrm>
            <a:off x="2959427" y="3136132"/>
            <a:ext cx="3207985" cy="430887"/>
          </a:xfrm>
          <a:prstGeom prst="rect">
            <a:avLst/>
          </a:prstGeom>
        </p:spPr>
        <p:txBody>
          <a:bodyPr vert="horz" wrap="square" lIns="0" tIns="0" rIns="0" bIns="0" rtlCol="0" anchor="t">
            <a:spAutoFit/>
          </a:bodyPr>
          <a:lstStyle/>
          <a:p>
            <a:pPr algn="ctr"/>
            <a:r>
              <a:rPr lang="en-US" sz="1400" b="1" dirty="0">
                <a:solidFill>
                  <a:srgbClr val="003865"/>
                </a:solidFill>
                <a:latin typeface="Verlag Book" pitchFamily="2" charset="0"/>
                <a:ea typeface="Arial" charset="0"/>
                <a:cs typeface="Arial" charset="0"/>
              </a:rPr>
              <a:t>Engage all relevant experts to enhance key competitiveness areas*</a:t>
            </a:r>
          </a:p>
        </p:txBody>
      </p:sp>
      <p:sp>
        <p:nvSpPr>
          <p:cNvPr id="50" name="TextBox 49">
            <a:extLst>
              <a:ext uri="{FF2B5EF4-FFF2-40B4-BE49-F238E27FC236}">
                <a16:creationId xmlns:a16="http://schemas.microsoft.com/office/drawing/2014/main" id="{97C1FA83-296A-E733-893A-5F61BD5AB393}"/>
              </a:ext>
            </a:extLst>
          </p:cNvPr>
          <p:cNvSpPr txBox="1"/>
          <p:nvPr/>
        </p:nvSpPr>
        <p:spPr>
          <a:xfrm>
            <a:off x="6283448" y="3136525"/>
            <a:ext cx="2688111" cy="430887"/>
          </a:xfrm>
          <a:prstGeom prst="rect">
            <a:avLst/>
          </a:prstGeom>
        </p:spPr>
        <p:txBody>
          <a:bodyPr vert="horz" wrap="square" lIns="0" tIns="0" rIns="0" bIns="0" rtlCol="0" anchor="t">
            <a:spAutoFit/>
          </a:bodyPr>
          <a:lstStyle/>
          <a:p>
            <a:pPr algn="ctr"/>
            <a:r>
              <a:rPr lang="en-US" sz="1400" b="1" dirty="0">
                <a:solidFill>
                  <a:srgbClr val="003865"/>
                </a:solidFill>
                <a:latin typeface="Verlag Book" pitchFamily="2" charset="0"/>
                <a:ea typeface="Arial" charset="0"/>
                <a:cs typeface="Arial" charset="0"/>
              </a:rPr>
              <a:t>Provide custom business solutions for target companies*</a:t>
            </a:r>
          </a:p>
        </p:txBody>
      </p:sp>
      <p:cxnSp>
        <p:nvCxnSpPr>
          <p:cNvPr id="51" name="Straight Connector 50">
            <a:extLst>
              <a:ext uri="{FF2B5EF4-FFF2-40B4-BE49-F238E27FC236}">
                <a16:creationId xmlns:a16="http://schemas.microsoft.com/office/drawing/2014/main" id="{B82581C2-1E95-67D2-6451-895F1F9FB640}"/>
              </a:ext>
            </a:extLst>
          </p:cNvPr>
          <p:cNvCxnSpPr>
            <a:cxnSpLocks/>
          </p:cNvCxnSpPr>
          <p:nvPr/>
        </p:nvCxnSpPr>
        <p:spPr>
          <a:xfrm>
            <a:off x="228600" y="3568210"/>
            <a:ext cx="86868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AC71133-4132-7B58-AAE5-4DF08D402048}"/>
              </a:ext>
            </a:extLst>
          </p:cNvPr>
          <p:cNvCxnSpPr>
            <a:cxnSpLocks/>
          </p:cNvCxnSpPr>
          <p:nvPr/>
        </p:nvCxnSpPr>
        <p:spPr>
          <a:xfrm>
            <a:off x="228600" y="3098443"/>
            <a:ext cx="86868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F7CD9C39-CD17-F8FE-4CEB-F49588844F5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6253647" y="5441308"/>
            <a:ext cx="513761" cy="513761"/>
          </a:xfrm>
          <a:prstGeom prst="rect">
            <a:avLst/>
          </a:prstGeom>
        </p:spPr>
      </p:pic>
      <p:sp>
        <p:nvSpPr>
          <p:cNvPr id="6" name="TextBox 5">
            <a:extLst>
              <a:ext uri="{FF2B5EF4-FFF2-40B4-BE49-F238E27FC236}">
                <a16:creationId xmlns:a16="http://schemas.microsoft.com/office/drawing/2014/main" id="{C8C2616D-35F1-F224-0AC6-A19B97187E44}"/>
              </a:ext>
            </a:extLst>
          </p:cNvPr>
          <p:cNvSpPr txBox="1"/>
          <p:nvPr/>
        </p:nvSpPr>
        <p:spPr>
          <a:xfrm>
            <a:off x="6900802" y="5408922"/>
            <a:ext cx="2070757" cy="646331"/>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Customized workforce development &amp; education packages</a:t>
            </a:r>
          </a:p>
        </p:txBody>
      </p:sp>
      <p:pic>
        <p:nvPicPr>
          <p:cNvPr id="94" name="Graphic 93" descr="Construction worker male with solid fill">
            <a:extLst>
              <a:ext uri="{FF2B5EF4-FFF2-40B4-BE49-F238E27FC236}">
                <a16:creationId xmlns:a16="http://schemas.microsoft.com/office/drawing/2014/main" id="{8779A3D2-7477-32C2-B36B-3BB64F889CE1}"/>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520915" y="5992668"/>
            <a:ext cx="513761" cy="513761"/>
          </a:xfrm>
          <a:prstGeom prst="rect">
            <a:avLst/>
          </a:prstGeom>
        </p:spPr>
      </p:pic>
      <p:sp>
        <p:nvSpPr>
          <p:cNvPr id="95" name="TextBox 94">
            <a:extLst>
              <a:ext uri="{FF2B5EF4-FFF2-40B4-BE49-F238E27FC236}">
                <a16:creationId xmlns:a16="http://schemas.microsoft.com/office/drawing/2014/main" id="{01E151E3-6998-A8F3-AD71-5DC161C16FA2}"/>
              </a:ext>
            </a:extLst>
          </p:cNvPr>
          <p:cNvSpPr txBox="1"/>
          <p:nvPr/>
        </p:nvSpPr>
        <p:spPr>
          <a:xfrm>
            <a:off x="1134559" y="6170792"/>
            <a:ext cx="1784263" cy="215444"/>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Right-to-work status</a:t>
            </a:r>
          </a:p>
        </p:txBody>
      </p:sp>
      <p:pic>
        <p:nvPicPr>
          <p:cNvPr id="96" name="Graphic 95" descr="Handshake with solid fill">
            <a:extLst>
              <a:ext uri="{FF2B5EF4-FFF2-40B4-BE49-F238E27FC236}">
                <a16:creationId xmlns:a16="http://schemas.microsoft.com/office/drawing/2014/main" id="{17AC5E6F-573F-8EC9-C82A-AA3050458A6A}"/>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3230247" y="6060173"/>
            <a:ext cx="513761" cy="513761"/>
          </a:xfrm>
          <a:prstGeom prst="rect">
            <a:avLst/>
          </a:prstGeom>
        </p:spPr>
      </p:pic>
      <p:sp>
        <p:nvSpPr>
          <p:cNvPr id="97" name="TextBox 96">
            <a:extLst>
              <a:ext uri="{FF2B5EF4-FFF2-40B4-BE49-F238E27FC236}">
                <a16:creationId xmlns:a16="http://schemas.microsoft.com/office/drawing/2014/main" id="{E9F24B7E-78B5-D439-F908-106416A79EAB}"/>
              </a:ext>
            </a:extLst>
          </p:cNvPr>
          <p:cNvSpPr txBox="1"/>
          <p:nvPr/>
        </p:nvSpPr>
        <p:spPr>
          <a:xfrm>
            <a:off x="3873904" y="6039091"/>
            <a:ext cx="2254565" cy="430887"/>
          </a:xfrm>
          <a:prstGeom prst="rect">
            <a:avLst/>
          </a:prstGeom>
        </p:spPr>
        <p:txBody>
          <a:bodyPr vert="horz" wrap="square" lIns="0" tIns="0" rIns="0" bIns="0" rtlCol="0" anchor="t">
            <a:spAutoFit/>
          </a:bodyPr>
          <a:lstStyle/>
          <a:p>
            <a:pPr algn="l"/>
            <a:r>
              <a:rPr lang="en-US" sz="1400" b="1" dirty="0">
                <a:solidFill>
                  <a:srgbClr val="003865"/>
                </a:solidFill>
                <a:latin typeface="Verlag Book" pitchFamily="2" charset="0"/>
                <a:ea typeface="Arial" charset="0"/>
                <a:cs typeface="Arial" charset="0"/>
              </a:rPr>
              <a:t>Deploy all-of-government capture teams &amp; enablers </a:t>
            </a:r>
          </a:p>
        </p:txBody>
      </p:sp>
      <p:sp>
        <p:nvSpPr>
          <p:cNvPr id="61" name="TextBox 60">
            <a:extLst>
              <a:ext uri="{FF2B5EF4-FFF2-40B4-BE49-F238E27FC236}">
                <a16:creationId xmlns:a16="http://schemas.microsoft.com/office/drawing/2014/main" id="{B72811B8-1781-DB26-9B12-01E96B19CB85}"/>
              </a:ext>
            </a:extLst>
          </p:cNvPr>
          <p:cNvSpPr txBox="1"/>
          <p:nvPr/>
        </p:nvSpPr>
        <p:spPr>
          <a:xfrm>
            <a:off x="1677073" y="6645345"/>
            <a:ext cx="5789855" cy="153888"/>
          </a:xfrm>
          <a:prstGeom prst="rect">
            <a:avLst/>
          </a:prstGeom>
        </p:spPr>
        <p:txBody>
          <a:bodyPr vert="horz" wrap="square" lIns="0" tIns="0" rIns="0" bIns="0" rtlCol="0" anchor="t">
            <a:spAutoFit/>
          </a:bodyPr>
          <a:lstStyle/>
          <a:p>
            <a:pPr algn="ctr"/>
            <a:r>
              <a:rPr lang="en-US" sz="1000" b="1" dirty="0">
                <a:solidFill>
                  <a:srgbClr val="003865"/>
                </a:solidFill>
                <a:latin typeface="Verlag Book" pitchFamily="2" charset="0"/>
                <a:ea typeface="Arial" charset="0"/>
                <a:cs typeface="Arial" charset="0"/>
              </a:rPr>
              <a:t>*Assets, key competitiveness areas, and custom business solutions area illustrative examples</a:t>
            </a:r>
          </a:p>
        </p:txBody>
      </p:sp>
      <p:sp>
        <p:nvSpPr>
          <p:cNvPr id="62" name="Rectangle 61">
            <a:extLst>
              <a:ext uri="{FF2B5EF4-FFF2-40B4-BE49-F238E27FC236}">
                <a16:creationId xmlns:a16="http://schemas.microsoft.com/office/drawing/2014/main" id="{B354478A-486D-AC85-001A-0A72CFEB2C96}"/>
              </a:ext>
            </a:extLst>
          </p:cNvPr>
          <p:cNvSpPr/>
          <p:nvPr/>
        </p:nvSpPr>
        <p:spPr>
          <a:xfrm>
            <a:off x="8162925" y="6469978"/>
            <a:ext cx="831818" cy="280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Verlag Book" pitchFamily="2" charset="0"/>
            </a:endParaRPr>
          </a:p>
        </p:txBody>
      </p:sp>
      <p:sp>
        <p:nvSpPr>
          <p:cNvPr id="28" name="Slide Number Placeholder 4">
            <a:extLst>
              <a:ext uri="{FF2B5EF4-FFF2-40B4-BE49-F238E27FC236}">
                <a16:creationId xmlns:a16="http://schemas.microsoft.com/office/drawing/2014/main" id="{4F77EEE3-C56F-AA04-DC18-A051048A61B4}"/>
              </a:ext>
            </a:extLst>
          </p:cNvPr>
          <p:cNvSpPr txBox="1">
            <a:spLocks/>
          </p:cNvSpPr>
          <p:nvPr/>
        </p:nvSpPr>
        <p:spPr>
          <a:xfrm>
            <a:off x="8790039" y="6516148"/>
            <a:ext cx="350454" cy="174625"/>
          </a:xfrm>
          <a:prstGeom prst="rect">
            <a:avLst/>
          </a:prstGeom>
          <a:no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latin typeface="Verlag Book" pitchFamily="2" charset="0"/>
              </a:rPr>
              <a:pPr marL="12700">
                <a:buFont typeface="Arial" panose="020B0604020202020204" pitchFamily="34" charset="0"/>
                <a:buNone/>
              </a:pPr>
              <a:t>8</a:t>
            </a:fld>
            <a:endParaRPr lang="en-US" dirty="0">
              <a:latin typeface="Verlag Book" pitchFamily="2" charset="0"/>
            </a:endParaRPr>
          </a:p>
        </p:txBody>
      </p:sp>
    </p:spTree>
    <p:extLst>
      <p:ext uri="{BB962C8B-B14F-4D97-AF65-F5344CB8AC3E}">
        <p14:creationId xmlns:p14="http://schemas.microsoft.com/office/powerpoint/2010/main" val="2956353300"/>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3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2">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Theme2" id="{A8260428-DCE9-4519-AC7A-6E56F7EA34D6}" vid="{A74EBDA2-0311-4782-BE2C-A0352A347665}"/>
    </a:ext>
  </a:extLst>
</a:theme>
</file>

<file path=ppt/theme/theme2.xml><?xml version="1.0" encoding="utf-8"?>
<a:theme xmlns:a="http://schemas.openxmlformats.org/drawingml/2006/main" name="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2B013B26-456B-FA47-95AF-0901332A26A2}" vid="{6EDC0492-BA69-644D-934B-2FC6B620511C}"/>
    </a:ext>
  </a:extLst>
</a:theme>
</file>

<file path=ppt/theme/theme3.xml><?xml version="1.0" encoding="utf-8"?>
<a:theme xmlns:a="http://schemas.openxmlformats.org/drawingml/2006/main" name="1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1" id="{2B013B26-456B-FA47-95AF-0901332A26A2}" vid="{6EDC0492-BA69-644D-934B-2FC6B620511C}"/>
    </a:ext>
  </a:extLst>
</a:theme>
</file>

<file path=ppt/theme/theme4.xml><?xml version="1.0" encoding="utf-8"?>
<a:theme xmlns:a="http://schemas.openxmlformats.org/drawingml/2006/main" name="2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996280CD-8533-4F3C-8C60-100EEE19CD91}" vid="{C56D0293-823D-4007-AC48-F2B15BDE5AC0}"/>
    </a:ext>
  </a:extLst>
</a:theme>
</file>

<file path=ppt/theme/theme5.xml><?xml version="1.0" encoding="utf-8"?>
<a:theme xmlns:a="http://schemas.openxmlformats.org/drawingml/2006/main" name="3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EDP PowerPoint Template  -  Read-Only" id="{6C6B1294-9880-4A27-8D0E-F249CFB821D4}" vid="{393D2E4D-16D3-4963-9CAD-8EA0C4072BB1}"/>
    </a:ext>
  </a:extLst>
</a:theme>
</file>

<file path=ppt/theme/theme6.xml><?xml version="1.0" encoding="utf-8"?>
<a:theme xmlns:a="http://schemas.openxmlformats.org/drawingml/2006/main" name="4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7" id="{D1EBE404-D763-2241-8E5B-2E46AF4E36D9}" vid="{5BCD4809-82D3-0E42-A471-A822F4ACE26B}"/>
    </a:ext>
  </a:extLst>
</a:theme>
</file>

<file path=ppt/theme/theme7.xml><?xml version="1.0" encoding="utf-8"?>
<a:theme xmlns:a="http://schemas.openxmlformats.org/drawingml/2006/main" name="5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7144B1B6-4176-4EC4-BEC8-DECA103C4E41}" vid="{01F6EC1C-8968-47AD-B818-F8F7AF9AB35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0.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1.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2.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3.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4.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5.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6.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7.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8.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19.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2.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20.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21.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22.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23.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3.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4.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5.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6.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7.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8.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ppt/theme/themeOverride9.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E0C000CAF2FC4BA587920285256994" ma:contentTypeVersion="16" ma:contentTypeDescription="Create a new document." ma:contentTypeScope="" ma:versionID="bd4a2b4d94cd0e563180b749e7fe6d52">
  <xsd:schema xmlns:xsd="http://www.w3.org/2001/XMLSchema" xmlns:xs="http://www.w3.org/2001/XMLSchema" xmlns:p="http://schemas.microsoft.com/office/2006/metadata/properties" xmlns:ns2="16f298a7-5634-4dbd-9574-6a01e108f576" xmlns:ns3="c0e43f8e-df79-48c7-aa08-7176a2c5b054" targetNamespace="http://schemas.microsoft.com/office/2006/metadata/properties" ma:root="true" ma:fieldsID="f6cedc4d67f25f683fd41f72ce6cf7ae" ns2:_="" ns3:_="">
    <xsd:import namespace="16f298a7-5634-4dbd-9574-6a01e108f576"/>
    <xsd:import namespace="c0e43f8e-df79-48c7-aa08-7176a2c5b05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f298a7-5634-4dbd-9574-6a01e108f5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3530d2e-5552-4983-b860-cdec4d7960d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0e43f8e-df79-48c7-aa08-7176a2c5b05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59c4606-e612-4e16-a296-e1dc293be1e9}" ma:internalName="TaxCatchAll" ma:showField="CatchAllData" ma:web="c0e43f8e-df79-48c7-aa08-7176a2c5b0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6f298a7-5634-4dbd-9574-6a01e108f576">
      <Terms xmlns="http://schemas.microsoft.com/office/infopath/2007/PartnerControls"/>
    </lcf76f155ced4ddcb4097134ff3c332f>
    <TaxCatchAll xmlns="c0e43f8e-df79-48c7-aa08-7176a2c5b054" xsi:nil="true"/>
    <SharedWithUsers xmlns="c0e43f8e-df79-48c7-aa08-7176a2c5b054">
      <UserInfo>
        <DisplayName>Devan, David</DisplayName>
        <AccountId>20</AccountId>
        <AccountType/>
      </UserInfo>
      <UserInfo>
        <DisplayName>Hartka, Stephen</DisplayName>
        <AccountId>10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4D3FE1-6F28-472E-86EB-37E976472D2A}">
  <ds:schemaRefs>
    <ds:schemaRef ds:uri="16f298a7-5634-4dbd-9574-6a01e108f576"/>
    <ds:schemaRef ds:uri="c0e43f8e-df79-48c7-aa08-7176a2c5b0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3FC0FF3-7448-476D-83EB-12015A32873F}">
  <ds:schemaRefs>
    <ds:schemaRef ds:uri="http://schemas.microsoft.com/office/infopath/2007/PartnerControls"/>
    <ds:schemaRef ds:uri="16f298a7-5634-4dbd-9574-6a01e108f576"/>
    <ds:schemaRef ds:uri="c0e43f8e-df79-48c7-aa08-7176a2c5b054"/>
    <ds:schemaRef ds:uri="http://purl.org/dc/elements/1.1/"/>
    <ds:schemaRef ds:uri="http://schemas.openxmlformats.org/package/2006/metadata/core-properties"/>
    <ds:schemaRef ds:uri="http://www.w3.org/XML/1998/namespace"/>
    <ds:schemaRef ds:uri="http://purl.org/dc/dcmitype/"/>
    <ds:schemaRef ds:uri="http://schemas.microsoft.com/office/2006/documentManagement/typ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CCEE58B5-46AC-4CD3-B9AC-7FCFF7447E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943</TotalTime>
  <Words>5375</Words>
  <Application>Microsoft Office PowerPoint</Application>
  <PresentationFormat>On-screen Show (4:3)</PresentationFormat>
  <Paragraphs>895</Paragraphs>
  <Slides>45</Slides>
  <Notes>31</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45</vt:i4>
      </vt:variant>
    </vt:vector>
  </HeadingPairs>
  <TitlesOfParts>
    <vt:vector size="63" baseType="lpstr">
      <vt:lpstr>Arial</vt:lpstr>
      <vt:lpstr>Arial   </vt:lpstr>
      <vt:lpstr>Arial Bold</vt:lpstr>
      <vt:lpstr>Calibri</vt:lpstr>
      <vt:lpstr>EYInterstate Light</vt:lpstr>
      <vt:lpstr>System Font Regular</vt:lpstr>
      <vt:lpstr>Times New Roman</vt:lpstr>
      <vt:lpstr>Verlag Bold</vt:lpstr>
      <vt:lpstr>Verlag Book</vt:lpstr>
      <vt:lpstr>Wingdings</vt:lpstr>
      <vt:lpstr>Theme2</vt:lpstr>
      <vt:lpstr>VEDP - Q2 2020</vt:lpstr>
      <vt:lpstr>1_VEDP - Q2 2020</vt:lpstr>
      <vt:lpstr>2_VEDP - Q2 2020</vt:lpstr>
      <vt:lpstr>3_VEDP - Q2 2020</vt:lpstr>
      <vt:lpstr>4_VEDP - Q2 2020</vt:lpstr>
      <vt:lpstr>5_VEDP - Q2 2020</vt:lpstr>
      <vt:lpstr>think-cell Slide</vt:lpstr>
      <vt:lpstr>PowerPoint Presentation</vt:lpstr>
      <vt:lpstr>Governor’s economic development policy Executive Summary (1/2)</vt:lpstr>
      <vt:lpstr>Governor’s economic development policy Executive Summary (2/2)</vt:lpstr>
      <vt:lpstr>PowerPoint Presentation</vt:lpstr>
      <vt:lpstr>Virginia faces fierce competition from high-job-growth peer states across the South and Southeast</vt:lpstr>
      <vt:lpstr>PowerPoint Presentation</vt:lpstr>
      <vt:lpstr>PowerPoint Presentation</vt:lpstr>
      <vt:lpstr>ACCELERATE SUPPORT FOR TARGET INDUSTRIES &amp; NEW SECTORS</vt:lpstr>
      <vt:lpstr>Virginia’s approach to target industry refinement and leveraging an all-of-government approach</vt:lpstr>
      <vt:lpstr>PowerPoint Presentation</vt:lpstr>
      <vt:lpstr>UNLEASH A TALENTED WORKFORCE: WORKFORCE DEVELOPMENT &amp; GROWTH</vt:lpstr>
      <vt:lpstr>Virginia’s fragmented workforce development environment spans multiple state agencies and secretariats</vt:lpstr>
      <vt:lpstr>Virginia has seen the progressive recovery of jobs lost, with several regions reaching pre-pandemic employment levels</vt:lpstr>
      <vt:lpstr>PowerPoint Presentation</vt:lpstr>
      <vt:lpstr>ACCELERATE SITE &amp; INFRASTRUCTURE DEVELOPMENT (1/2)</vt:lpstr>
      <vt:lpstr>Virginia’s lack of project-ready sites has led to massive missed opportunities for the Commonwealth</vt:lpstr>
      <vt:lpstr>ACCELERATE SITE &amp; INFRASTRUCTURE DEVELOPMENT (2/2)</vt:lpstr>
      <vt:lpstr>PowerPoint Presentation</vt:lpstr>
      <vt:lpstr>MAKE VIRGINIA MORE AFFORDABLE: HOUSING &amp; COST OF LIVING</vt:lpstr>
      <vt:lpstr>North Carolina, Tennessee, and Georgia have reduced personal income tax rates, while Virginia holds steady</vt:lpstr>
      <vt:lpstr>PowerPoint Presentation</vt:lpstr>
      <vt:lpstr>BREAK DOWN BARRIERS: COST &amp; EASE OF DOING BUSINESS</vt:lpstr>
      <vt:lpstr>Virginia’s corporate income tax rates remain flat while competitors lower rates to enhance their business climate</vt:lpstr>
      <vt:lpstr>PowerPoint Presentation</vt:lpstr>
      <vt:lpstr>DRIVE INNOVATION: entrepreneurship &amp; SMALL BUSINESS</vt:lpstr>
      <vt:lpstr>Virginia trails peer states in multiple measures of entrepreneurship</vt:lpstr>
      <vt:lpstr>PowerPoint Presentation</vt:lpstr>
      <vt:lpstr>PowerPoint Presentation</vt:lpstr>
      <vt:lpstr>PowerPoint Presentation</vt:lpstr>
      <vt:lpstr>ACCELERATE SITE &amp; INFRASTRUCTURE DEVELOPMENT (1/2)</vt:lpstr>
      <vt:lpstr>ACCELERATE SITE &amp; INFRASTRUCTURE DEVELOPMENT (2/2)</vt:lpstr>
      <vt:lpstr>PowerPoint Presentation</vt:lpstr>
      <vt:lpstr>For over a decade, Virginia's employment growth rate has been  middle-of-the-pack among U.S. States but the Commonwealth is seeing a rebound in 2022</vt:lpstr>
      <vt:lpstr>Virginia saw more than 100,000 residents move to competitor states from 2020-2021, many in key demographic segments</vt:lpstr>
      <vt:lpstr>Despite recent progress, Virginia has underperformed during recovery compared with aspirational growth states</vt:lpstr>
      <vt:lpstr>Since January 2022, the Commonwealth has made noteworthy progress across key economic indicators</vt:lpstr>
      <vt:lpstr>Job Openings in Virginia have continued to rise over the course of 2021 and 2022, reaching historic heights</vt:lpstr>
      <vt:lpstr>Virginia currently pursues a broad set of target industries</vt:lpstr>
      <vt:lpstr>Virginia has attracted fewer movers than COMPETITOR STATES since 2014</vt:lpstr>
      <vt:lpstr>Despite a trend of losing movers to other states, Virginia’s loss of residents has begun to stabilize</vt:lpstr>
      <vt:lpstr>Reliability, affordability, innovation, competition, and environmental stewardship will guide Virginia’s energy future</vt:lpstr>
      <vt:lpstr>The Commonwealth’s recent investments in broadband have cemented its status as a national leader in high-speed internet expansion</vt:lpstr>
      <vt:lpstr>VIRGINIA’s COST OF LIVING CONTINUES TO TRAIL COMPETITOR STATES, EXPERIENCING MINIMIAL CHANGE SINCE 2018</vt:lpstr>
      <vt:lpstr>Virginia’s peer states have more competitive tax environments for new firms</vt:lpstr>
      <vt:lpstr>Virginia’s unemployment insurance charging policies are the least employer-friendly of any southeastern pe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or’s ED Policy</dc:title>
  <dc:creator>Pearce, Cole</dc:creator>
  <cp:lastModifiedBy>Carroll, Tyler</cp:lastModifiedBy>
  <cp:revision>1</cp:revision>
  <cp:lastPrinted>2022-12-09T12:56:11Z</cp:lastPrinted>
  <dcterms:created xsi:type="dcterms:W3CDTF">2022-07-05T12:48:50Z</dcterms:created>
  <dcterms:modified xsi:type="dcterms:W3CDTF">2023-01-05T11: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D6E0C000CAF2FC4BA587920285256994</vt:lpwstr>
  </property>
</Properties>
</file>